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256" r:id="rId2"/>
    <p:sldId id="260" r:id="rId3"/>
    <p:sldId id="263" r:id="rId4"/>
  </p:sldIdLst>
  <p:sldSz cx="12192000" cy="6858000"/>
  <p:notesSz cx="6858000" cy="9144000"/>
  <p:embeddedFontLst>
    <p:embeddedFont>
      <p:font typeface="Raleway" panose="020B0604020202020204" charset="0"/>
      <p:regular r:id="rId7"/>
      <p:bold r:id="rId8"/>
      <p:italic r:id="rId9"/>
      <p:boldItalic r:id="rId10"/>
    </p:embeddedFont>
    <p:embeddedFont>
      <p:font typeface="Raleway ExtraBold" panose="020B0604020202020204" charset="0"/>
      <p:regular r:id="rId11"/>
      <p:bold r:id="rId12"/>
      <p:italic r:id="rId13"/>
      <p:boldItalic r:id="rId14"/>
    </p:embeddedFont>
  </p:embeddedFontLst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003356"/>
    <a:srgbClr val="001F34"/>
    <a:srgbClr val="441B3C"/>
    <a:srgbClr val="003F36"/>
    <a:srgbClr val="005C8D"/>
    <a:srgbClr val="BEE3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88523" autoAdjust="0"/>
  </p:normalViewPr>
  <p:slideViewPr>
    <p:cSldViewPr snapToGrid="0" showGuides="1">
      <p:cViewPr varScale="1">
        <p:scale>
          <a:sx n="114" d="100"/>
          <a:sy n="114" d="100"/>
        </p:scale>
        <p:origin x="41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389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font" Target="fonts/font7.fntdata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font" Target="fonts/font1.fntdata"/><Relationship Id="rId12" Type="http://schemas.openxmlformats.org/officeDocument/2006/relationships/font" Target="fonts/font6.fntdata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font" Target="fonts/font5.fntdata"/><Relationship Id="rId5" Type="http://schemas.openxmlformats.org/officeDocument/2006/relationships/notesMaster" Target="notesMasters/notesMaster1.xml"/><Relationship Id="rId15" Type="http://schemas.openxmlformats.org/officeDocument/2006/relationships/tags" Target="tags/tag1.xml"/><Relationship Id="rId10" Type="http://schemas.openxmlformats.org/officeDocument/2006/relationships/font" Target="fonts/font4.fntdata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font" Target="fonts/font3.fntdata"/><Relationship Id="rId14" Type="http://schemas.openxmlformats.org/officeDocument/2006/relationships/font" Target="fonts/font8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8382C0-1D05-4229-918E-CDD7B7E48B4A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6AEEE-E778-402E-8B8F-9A98AED26EB8}" type="datetimeFigureOut">
              <a:rPr lang="en-GB" smtClean="0"/>
              <a:t>04/04/2024</a:t>
            </a:fld>
            <a:endParaRPr lang="en-GB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1386E511-D742-4EFE-90B5-C9FC42762E0F}" type="datetimeFigureOut">
              <a:rPr lang="en-GB" smtClean="0"/>
              <a:pPr/>
              <a:t>04/04/2024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A16CFAD1-D197-4A88-B173-A6412E995EE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>
            <a:extLst>
              <a:ext uri="{FF2B5EF4-FFF2-40B4-BE49-F238E27FC236}">
                <a16:creationId xmlns:a16="http://schemas.microsoft.com/office/drawing/2014/main" id="{7014AFF4-321B-47D7-A0CD-0CFE22C65E31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1122362"/>
            <a:ext cx="6940800" cy="3621600"/>
          </a:xfrm>
        </p:spPr>
        <p:txBody>
          <a:bodyPr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skrives her i flere linjer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>
          <a:xfrm>
            <a:off x="431999" y="5883332"/>
            <a:ext cx="4021200" cy="180000"/>
          </a:xfrm>
        </p:spPr>
        <p:txBody>
          <a:bodyPr/>
          <a:lstStyle>
            <a:lvl1pPr>
              <a:defRPr lang="en-GB" sz="1500" dirty="0">
                <a:solidFill>
                  <a:schemeClr val="bg1"/>
                </a:solidFill>
              </a:defRPr>
            </a:lvl1pPr>
          </a:lstStyle>
          <a:p>
            <a:fld id="{F2CF9434-4206-4AC2-A91A-1DCD05F48644}" type="datetime2">
              <a:rPr lang="da-DK" smtClean="0"/>
              <a:t>4. april 2024</a:t>
            </a:fld>
            <a:endParaRPr lang="da-DK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40752A6-1750-4291-B91A-BCBA280283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6090239"/>
            <a:ext cx="4021200" cy="25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216000" indent="0">
              <a:buNone/>
              <a:defRPr/>
            </a:lvl2pPr>
          </a:lstStyle>
          <a:p>
            <a:pPr lvl="0"/>
            <a:r>
              <a:rPr lang="da-DK" dirty="0"/>
              <a:t>Indsæt navn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757160F-1609-4C06-9280-500899BD0D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6343649"/>
            <a:ext cx="4021200" cy="25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216000" indent="0">
              <a:buNone/>
              <a:defRPr/>
            </a:lvl2pPr>
          </a:lstStyle>
          <a:p>
            <a:pPr lvl="0"/>
            <a:r>
              <a:rPr lang="da-DK" dirty="0"/>
              <a:t>Indsæt titel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097836F4-DF01-4985-A4C0-2A0AF3CD00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1" y="336145"/>
            <a:ext cx="1800659" cy="421958"/>
          </a:xfrm>
          <a:prstGeom prst="rect">
            <a:avLst/>
          </a:prstGeom>
        </p:spPr>
      </p:pic>
      <p:sp>
        <p:nvSpPr>
          <p:cNvPr id="26" name="Ikoner">
            <a:extLst>
              <a:ext uri="{FF2B5EF4-FFF2-40B4-BE49-F238E27FC236}">
                <a16:creationId xmlns:a16="http://schemas.microsoft.com/office/drawing/2014/main" id="{807501B8-6288-4B48-97AA-8207383A42B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32000" y="5032800"/>
            <a:ext cx="1346400" cy="338400"/>
          </a:xfrm>
          <a:custGeom>
            <a:avLst/>
            <a:gdLst>
              <a:gd name="T0" fmla="*/ 1157 w 1157"/>
              <a:gd name="T1" fmla="*/ 144 h 288"/>
              <a:gd name="T2" fmla="*/ 1013 w 1157"/>
              <a:gd name="T3" fmla="*/ 288 h 288"/>
              <a:gd name="T4" fmla="*/ 869 w 1157"/>
              <a:gd name="T5" fmla="*/ 144 h 288"/>
              <a:gd name="T6" fmla="*/ 1013 w 1157"/>
              <a:gd name="T7" fmla="*/ 0 h 288"/>
              <a:gd name="T8" fmla="*/ 1157 w 1157"/>
              <a:gd name="T9" fmla="*/ 144 h 288"/>
              <a:gd name="T10" fmla="*/ 643 w 1157"/>
              <a:gd name="T11" fmla="*/ 5 h 288"/>
              <a:gd name="T12" fmla="*/ 569 w 1157"/>
              <a:gd name="T13" fmla="*/ 5 h 288"/>
              <a:gd name="T14" fmla="*/ 569 w 1157"/>
              <a:gd name="T15" fmla="*/ 107 h 288"/>
              <a:gd name="T16" fmla="*/ 467 w 1157"/>
              <a:gd name="T17" fmla="*/ 107 h 288"/>
              <a:gd name="T18" fmla="*/ 467 w 1157"/>
              <a:gd name="T19" fmla="*/ 181 h 288"/>
              <a:gd name="T20" fmla="*/ 569 w 1157"/>
              <a:gd name="T21" fmla="*/ 181 h 288"/>
              <a:gd name="T22" fmla="*/ 569 w 1157"/>
              <a:gd name="T23" fmla="*/ 283 h 288"/>
              <a:gd name="T24" fmla="*/ 643 w 1157"/>
              <a:gd name="T25" fmla="*/ 283 h 288"/>
              <a:gd name="T26" fmla="*/ 643 w 1157"/>
              <a:gd name="T27" fmla="*/ 181 h 288"/>
              <a:gd name="T28" fmla="*/ 745 w 1157"/>
              <a:gd name="T29" fmla="*/ 181 h 288"/>
              <a:gd name="T30" fmla="*/ 745 w 1157"/>
              <a:gd name="T31" fmla="*/ 107 h 288"/>
              <a:gd name="T32" fmla="*/ 643 w 1157"/>
              <a:gd name="T33" fmla="*/ 107 h 288"/>
              <a:gd name="T34" fmla="*/ 643 w 1157"/>
              <a:gd name="T35" fmla="*/ 5 h 288"/>
              <a:gd name="T36" fmla="*/ 255 w 1157"/>
              <a:gd name="T37" fmla="*/ 0 h 288"/>
              <a:gd name="T38" fmla="*/ 174 w 1157"/>
              <a:gd name="T39" fmla="*/ 53 h 288"/>
              <a:gd name="T40" fmla="*/ 93 w 1157"/>
              <a:gd name="T41" fmla="*/ 0 h 288"/>
              <a:gd name="T42" fmla="*/ 0 w 1157"/>
              <a:gd name="T43" fmla="*/ 91 h 288"/>
              <a:gd name="T44" fmla="*/ 174 w 1157"/>
              <a:gd name="T45" fmla="*/ 288 h 288"/>
              <a:gd name="T46" fmla="*/ 347 w 1157"/>
              <a:gd name="T47" fmla="*/ 91 h 288"/>
              <a:gd name="T48" fmla="*/ 255 w 1157"/>
              <a:gd name="T49" fmla="*/ 0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157" h="288">
                <a:moveTo>
                  <a:pt x="1157" y="144"/>
                </a:moveTo>
                <a:cubicBezTo>
                  <a:pt x="1157" y="223"/>
                  <a:pt x="1092" y="288"/>
                  <a:pt x="1013" y="288"/>
                </a:cubicBezTo>
                <a:cubicBezTo>
                  <a:pt x="933" y="288"/>
                  <a:pt x="869" y="223"/>
                  <a:pt x="869" y="144"/>
                </a:cubicBezTo>
                <a:cubicBezTo>
                  <a:pt x="869" y="65"/>
                  <a:pt x="933" y="0"/>
                  <a:pt x="1013" y="0"/>
                </a:cubicBezTo>
                <a:cubicBezTo>
                  <a:pt x="1092" y="0"/>
                  <a:pt x="1157" y="65"/>
                  <a:pt x="1157" y="144"/>
                </a:cubicBezTo>
                <a:close/>
                <a:moveTo>
                  <a:pt x="643" y="5"/>
                </a:moveTo>
                <a:cubicBezTo>
                  <a:pt x="569" y="5"/>
                  <a:pt x="569" y="5"/>
                  <a:pt x="569" y="5"/>
                </a:cubicBezTo>
                <a:cubicBezTo>
                  <a:pt x="569" y="107"/>
                  <a:pt x="569" y="107"/>
                  <a:pt x="569" y="107"/>
                </a:cubicBezTo>
                <a:cubicBezTo>
                  <a:pt x="467" y="107"/>
                  <a:pt x="467" y="107"/>
                  <a:pt x="467" y="107"/>
                </a:cubicBezTo>
                <a:cubicBezTo>
                  <a:pt x="467" y="181"/>
                  <a:pt x="467" y="181"/>
                  <a:pt x="467" y="181"/>
                </a:cubicBezTo>
                <a:cubicBezTo>
                  <a:pt x="569" y="181"/>
                  <a:pt x="569" y="181"/>
                  <a:pt x="569" y="181"/>
                </a:cubicBezTo>
                <a:cubicBezTo>
                  <a:pt x="569" y="283"/>
                  <a:pt x="569" y="283"/>
                  <a:pt x="569" y="283"/>
                </a:cubicBezTo>
                <a:cubicBezTo>
                  <a:pt x="643" y="283"/>
                  <a:pt x="643" y="283"/>
                  <a:pt x="643" y="283"/>
                </a:cubicBezTo>
                <a:cubicBezTo>
                  <a:pt x="643" y="181"/>
                  <a:pt x="643" y="181"/>
                  <a:pt x="643" y="181"/>
                </a:cubicBezTo>
                <a:cubicBezTo>
                  <a:pt x="745" y="181"/>
                  <a:pt x="745" y="181"/>
                  <a:pt x="745" y="181"/>
                </a:cubicBezTo>
                <a:cubicBezTo>
                  <a:pt x="745" y="107"/>
                  <a:pt x="745" y="107"/>
                  <a:pt x="745" y="107"/>
                </a:cubicBezTo>
                <a:cubicBezTo>
                  <a:pt x="643" y="107"/>
                  <a:pt x="643" y="107"/>
                  <a:pt x="643" y="107"/>
                </a:cubicBezTo>
                <a:lnTo>
                  <a:pt x="643" y="5"/>
                </a:lnTo>
                <a:close/>
                <a:moveTo>
                  <a:pt x="255" y="0"/>
                </a:moveTo>
                <a:cubicBezTo>
                  <a:pt x="196" y="0"/>
                  <a:pt x="174" y="53"/>
                  <a:pt x="174" y="53"/>
                </a:cubicBezTo>
                <a:cubicBezTo>
                  <a:pt x="174" y="53"/>
                  <a:pt x="151" y="0"/>
                  <a:pt x="93" y="0"/>
                </a:cubicBezTo>
                <a:cubicBezTo>
                  <a:pt x="27" y="0"/>
                  <a:pt x="0" y="57"/>
                  <a:pt x="0" y="91"/>
                </a:cubicBezTo>
                <a:cubicBezTo>
                  <a:pt x="0" y="159"/>
                  <a:pt x="80" y="244"/>
                  <a:pt x="174" y="288"/>
                </a:cubicBezTo>
                <a:cubicBezTo>
                  <a:pt x="267" y="244"/>
                  <a:pt x="347" y="159"/>
                  <a:pt x="347" y="91"/>
                </a:cubicBezTo>
                <a:cubicBezTo>
                  <a:pt x="347" y="57"/>
                  <a:pt x="320" y="0"/>
                  <a:pt x="255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22425142"/>
      </p:ext>
    </p:extLst>
  </p:cSld>
  <p:clrMapOvr>
    <a:masterClrMapping/>
  </p:clrMapOvr>
  <p:hf sldNum="0" hdr="0" ft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2000" y="632970"/>
            <a:ext cx="11328000" cy="93489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Overskrift skrives her i en eller to linj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31799" y="1900238"/>
            <a:ext cx="5484199" cy="41973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og indsæt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999" y="1900238"/>
            <a:ext cx="5484201" cy="41973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og indsæt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2" name="Pladsholder til slidenummer 11">
            <a:extLst>
              <a:ext uri="{FF2B5EF4-FFF2-40B4-BE49-F238E27FC236}">
                <a16:creationId xmlns:a16="http://schemas.microsoft.com/office/drawing/2014/main" id="{99C76138-CD40-4E65-845F-F511C78E05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0" name="Pladsholder til dato 9" hidden="1">
            <a:extLst>
              <a:ext uri="{FF2B5EF4-FFF2-40B4-BE49-F238E27FC236}">
                <a16:creationId xmlns:a16="http://schemas.microsoft.com/office/drawing/2014/main" id="{F3B39126-D198-41DB-88AB-6C4F543865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1" name="Pladsholder til sidefod 10" hidden="1">
            <a:extLst>
              <a:ext uri="{FF2B5EF4-FFF2-40B4-BE49-F238E27FC236}">
                <a16:creationId xmlns:a16="http://schemas.microsoft.com/office/drawing/2014/main" id="{3F8442AA-4FE0-47EA-8B79-6D112F429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335176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objekt til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5A6B7885-DDAE-450C-B00C-E86812F046A2}"/>
              </a:ext>
            </a:extLst>
          </p:cNvPr>
          <p:cNvSpPr/>
          <p:nvPr userDrawn="1"/>
        </p:nvSpPr>
        <p:spPr>
          <a:xfrm>
            <a:off x="6275998" y="0"/>
            <a:ext cx="60948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2000" y="632970"/>
            <a:ext cx="5299200" cy="934890"/>
          </a:xfrm>
        </p:spPr>
        <p:txBody>
          <a:bodyPr/>
          <a:lstStyle>
            <a:lvl1pPr>
              <a:defRPr sz="3000"/>
            </a:lvl1pPr>
          </a:lstStyle>
          <a:p>
            <a:r>
              <a:rPr lang="da-DK" dirty="0"/>
              <a:t>Overskrift skrives her i en eller to linj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31799" y="1900238"/>
            <a:ext cx="5299200" cy="41973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og indsæt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5347FED5-0CD2-4FA7-BE6E-68D8065A4EC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75998" y="0"/>
            <a:ext cx="6094800" cy="6858000"/>
          </a:xfrm>
        </p:spPr>
        <p:txBody>
          <a:bodyPr tIns="612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 dirty="0"/>
              <a:t>Klik på ikonet og indsæt billede</a:t>
            </a:r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A51774A5-FED9-4538-B2CB-565EACF9A7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Pladsholder til dato 10" hidden="1">
            <a:extLst>
              <a:ext uri="{FF2B5EF4-FFF2-40B4-BE49-F238E27FC236}">
                <a16:creationId xmlns:a16="http://schemas.microsoft.com/office/drawing/2014/main" id="{111A1756-A0E7-4C52-9A32-CA3EB8559D0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Pladsholder til sidefod 11" hidden="1">
            <a:extLst>
              <a:ext uri="{FF2B5EF4-FFF2-40B4-BE49-F238E27FC236}">
                <a16:creationId xmlns:a16="http://schemas.microsoft.com/office/drawing/2014/main" id="{9B0D835E-06D6-410D-B17D-472F6616F4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0" name="Text Placeholder Ikoner">
            <a:extLst>
              <a:ext uri="{FF2B5EF4-FFF2-40B4-BE49-F238E27FC236}">
                <a16:creationId xmlns:a16="http://schemas.microsoft.com/office/drawing/2014/main" id="{F3423F88-ABA9-453B-96CA-8105B868702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360400" y="6433592"/>
            <a:ext cx="399600" cy="100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.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425122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dholdsobjekter på bag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5A6B7885-DDAE-450C-B00C-E86812F046A2}"/>
              </a:ext>
            </a:extLst>
          </p:cNvPr>
          <p:cNvSpPr/>
          <p:nvPr userDrawn="1"/>
        </p:nvSpPr>
        <p:spPr>
          <a:xfrm>
            <a:off x="6097200" y="0"/>
            <a:ext cx="60948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2000" y="632970"/>
            <a:ext cx="5299200" cy="93489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Overskrift skrives her i en eller to linj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31799" y="1900238"/>
            <a:ext cx="5299200" cy="41973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og indsæt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1200" y="182880"/>
            <a:ext cx="5745600" cy="59267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og indsæt tabel eller graf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9" name="Ikoner">
            <a:extLst>
              <a:ext uri="{FF2B5EF4-FFF2-40B4-BE49-F238E27FC236}">
                <a16:creationId xmlns:a16="http://schemas.microsoft.com/office/drawing/2014/main" id="{6EA125FF-4EB2-4137-A13A-E01C5CAD676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360253" y="6433592"/>
            <a:ext cx="399747" cy="100408"/>
          </a:xfrm>
          <a:custGeom>
            <a:avLst/>
            <a:gdLst>
              <a:gd name="T0" fmla="*/ 1157 w 1157"/>
              <a:gd name="T1" fmla="*/ 144 h 288"/>
              <a:gd name="T2" fmla="*/ 1013 w 1157"/>
              <a:gd name="T3" fmla="*/ 288 h 288"/>
              <a:gd name="T4" fmla="*/ 869 w 1157"/>
              <a:gd name="T5" fmla="*/ 144 h 288"/>
              <a:gd name="T6" fmla="*/ 1013 w 1157"/>
              <a:gd name="T7" fmla="*/ 0 h 288"/>
              <a:gd name="T8" fmla="*/ 1157 w 1157"/>
              <a:gd name="T9" fmla="*/ 144 h 288"/>
              <a:gd name="T10" fmla="*/ 643 w 1157"/>
              <a:gd name="T11" fmla="*/ 5 h 288"/>
              <a:gd name="T12" fmla="*/ 569 w 1157"/>
              <a:gd name="T13" fmla="*/ 5 h 288"/>
              <a:gd name="T14" fmla="*/ 569 w 1157"/>
              <a:gd name="T15" fmla="*/ 107 h 288"/>
              <a:gd name="T16" fmla="*/ 467 w 1157"/>
              <a:gd name="T17" fmla="*/ 107 h 288"/>
              <a:gd name="T18" fmla="*/ 467 w 1157"/>
              <a:gd name="T19" fmla="*/ 181 h 288"/>
              <a:gd name="T20" fmla="*/ 569 w 1157"/>
              <a:gd name="T21" fmla="*/ 181 h 288"/>
              <a:gd name="T22" fmla="*/ 569 w 1157"/>
              <a:gd name="T23" fmla="*/ 283 h 288"/>
              <a:gd name="T24" fmla="*/ 643 w 1157"/>
              <a:gd name="T25" fmla="*/ 283 h 288"/>
              <a:gd name="T26" fmla="*/ 643 w 1157"/>
              <a:gd name="T27" fmla="*/ 181 h 288"/>
              <a:gd name="T28" fmla="*/ 745 w 1157"/>
              <a:gd name="T29" fmla="*/ 181 h 288"/>
              <a:gd name="T30" fmla="*/ 745 w 1157"/>
              <a:gd name="T31" fmla="*/ 107 h 288"/>
              <a:gd name="T32" fmla="*/ 643 w 1157"/>
              <a:gd name="T33" fmla="*/ 107 h 288"/>
              <a:gd name="T34" fmla="*/ 643 w 1157"/>
              <a:gd name="T35" fmla="*/ 5 h 288"/>
              <a:gd name="T36" fmla="*/ 255 w 1157"/>
              <a:gd name="T37" fmla="*/ 0 h 288"/>
              <a:gd name="T38" fmla="*/ 174 w 1157"/>
              <a:gd name="T39" fmla="*/ 53 h 288"/>
              <a:gd name="T40" fmla="*/ 93 w 1157"/>
              <a:gd name="T41" fmla="*/ 0 h 288"/>
              <a:gd name="T42" fmla="*/ 0 w 1157"/>
              <a:gd name="T43" fmla="*/ 91 h 288"/>
              <a:gd name="T44" fmla="*/ 174 w 1157"/>
              <a:gd name="T45" fmla="*/ 288 h 288"/>
              <a:gd name="T46" fmla="*/ 347 w 1157"/>
              <a:gd name="T47" fmla="*/ 91 h 288"/>
              <a:gd name="T48" fmla="*/ 255 w 1157"/>
              <a:gd name="T49" fmla="*/ 0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157" h="288">
                <a:moveTo>
                  <a:pt x="1157" y="144"/>
                </a:moveTo>
                <a:cubicBezTo>
                  <a:pt x="1157" y="223"/>
                  <a:pt x="1092" y="288"/>
                  <a:pt x="1013" y="288"/>
                </a:cubicBezTo>
                <a:cubicBezTo>
                  <a:pt x="933" y="288"/>
                  <a:pt x="869" y="223"/>
                  <a:pt x="869" y="144"/>
                </a:cubicBezTo>
                <a:cubicBezTo>
                  <a:pt x="869" y="65"/>
                  <a:pt x="933" y="0"/>
                  <a:pt x="1013" y="0"/>
                </a:cubicBezTo>
                <a:cubicBezTo>
                  <a:pt x="1092" y="0"/>
                  <a:pt x="1157" y="65"/>
                  <a:pt x="1157" y="144"/>
                </a:cubicBezTo>
                <a:close/>
                <a:moveTo>
                  <a:pt x="643" y="5"/>
                </a:moveTo>
                <a:cubicBezTo>
                  <a:pt x="569" y="5"/>
                  <a:pt x="569" y="5"/>
                  <a:pt x="569" y="5"/>
                </a:cubicBezTo>
                <a:cubicBezTo>
                  <a:pt x="569" y="107"/>
                  <a:pt x="569" y="107"/>
                  <a:pt x="569" y="107"/>
                </a:cubicBezTo>
                <a:cubicBezTo>
                  <a:pt x="467" y="107"/>
                  <a:pt x="467" y="107"/>
                  <a:pt x="467" y="107"/>
                </a:cubicBezTo>
                <a:cubicBezTo>
                  <a:pt x="467" y="181"/>
                  <a:pt x="467" y="181"/>
                  <a:pt x="467" y="181"/>
                </a:cubicBezTo>
                <a:cubicBezTo>
                  <a:pt x="569" y="181"/>
                  <a:pt x="569" y="181"/>
                  <a:pt x="569" y="181"/>
                </a:cubicBezTo>
                <a:cubicBezTo>
                  <a:pt x="569" y="283"/>
                  <a:pt x="569" y="283"/>
                  <a:pt x="569" y="283"/>
                </a:cubicBezTo>
                <a:cubicBezTo>
                  <a:pt x="643" y="283"/>
                  <a:pt x="643" y="283"/>
                  <a:pt x="643" y="283"/>
                </a:cubicBezTo>
                <a:cubicBezTo>
                  <a:pt x="643" y="181"/>
                  <a:pt x="643" y="181"/>
                  <a:pt x="643" y="181"/>
                </a:cubicBezTo>
                <a:cubicBezTo>
                  <a:pt x="745" y="181"/>
                  <a:pt x="745" y="181"/>
                  <a:pt x="745" y="181"/>
                </a:cubicBezTo>
                <a:cubicBezTo>
                  <a:pt x="745" y="107"/>
                  <a:pt x="745" y="107"/>
                  <a:pt x="745" y="107"/>
                </a:cubicBezTo>
                <a:cubicBezTo>
                  <a:pt x="643" y="107"/>
                  <a:pt x="643" y="107"/>
                  <a:pt x="643" y="107"/>
                </a:cubicBezTo>
                <a:lnTo>
                  <a:pt x="643" y="5"/>
                </a:lnTo>
                <a:close/>
                <a:moveTo>
                  <a:pt x="255" y="0"/>
                </a:moveTo>
                <a:cubicBezTo>
                  <a:pt x="196" y="0"/>
                  <a:pt x="174" y="53"/>
                  <a:pt x="174" y="53"/>
                </a:cubicBezTo>
                <a:cubicBezTo>
                  <a:pt x="174" y="53"/>
                  <a:pt x="151" y="0"/>
                  <a:pt x="93" y="0"/>
                </a:cubicBezTo>
                <a:cubicBezTo>
                  <a:pt x="27" y="0"/>
                  <a:pt x="0" y="57"/>
                  <a:pt x="0" y="91"/>
                </a:cubicBezTo>
                <a:cubicBezTo>
                  <a:pt x="0" y="159"/>
                  <a:pt x="80" y="244"/>
                  <a:pt x="174" y="288"/>
                </a:cubicBezTo>
                <a:cubicBezTo>
                  <a:pt x="267" y="244"/>
                  <a:pt x="347" y="159"/>
                  <a:pt x="347" y="91"/>
                </a:cubicBezTo>
                <a:cubicBezTo>
                  <a:pt x="347" y="57"/>
                  <a:pt x="320" y="0"/>
                  <a:pt x="25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dirty="0"/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C93FE44B-8E32-4C27-94AF-F71D14C85D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Pladsholder til dato 10" hidden="1">
            <a:extLst>
              <a:ext uri="{FF2B5EF4-FFF2-40B4-BE49-F238E27FC236}">
                <a16:creationId xmlns:a16="http://schemas.microsoft.com/office/drawing/2014/main" id="{8797082D-BCBF-4A53-BC27-DAFA0D88F3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Pladsholder til sidefod 11" hidden="1">
            <a:extLst>
              <a:ext uri="{FF2B5EF4-FFF2-40B4-BE49-F238E27FC236}">
                <a16:creationId xmlns:a16="http://schemas.microsoft.com/office/drawing/2014/main" id="{4D9FF13F-592A-4460-ACB8-9F49BEF116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748698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dholdsobjekter på baggru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6BC38EB6-9EC0-43F9-9816-E002D7CCA3D8}"/>
              </a:ext>
            </a:extLst>
          </p:cNvPr>
          <p:cNvSpPr/>
          <p:nvPr userDrawn="1"/>
        </p:nvSpPr>
        <p:spPr>
          <a:xfrm>
            <a:off x="1" y="0"/>
            <a:ext cx="60948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5A6B7885-DDAE-450C-B00C-E86812F046A2}"/>
              </a:ext>
            </a:extLst>
          </p:cNvPr>
          <p:cNvSpPr/>
          <p:nvPr userDrawn="1"/>
        </p:nvSpPr>
        <p:spPr>
          <a:xfrm>
            <a:off x="6094801" y="0"/>
            <a:ext cx="60972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2000" y="632970"/>
            <a:ext cx="5297448" cy="9348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skrives her i en eller to linj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271200" y="182880"/>
            <a:ext cx="5745507" cy="59267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a-DK" noProof="0" dirty="0"/>
              <a:t>Klik og indsæt tabel eller graf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2000" y="1900800"/>
            <a:ext cx="5297448" cy="419792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/>
              <a:t>Klik og indsæt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9" name="Ikoner">
            <a:extLst>
              <a:ext uri="{FF2B5EF4-FFF2-40B4-BE49-F238E27FC236}">
                <a16:creationId xmlns:a16="http://schemas.microsoft.com/office/drawing/2014/main" id="{6EA125FF-4EB2-4137-A13A-E01C5CAD676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360253" y="6433592"/>
            <a:ext cx="399747" cy="100408"/>
          </a:xfrm>
          <a:custGeom>
            <a:avLst/>
            <a:gdLst>
              <a:gd name="T0" fmla="*/ 1157 w 1157"/>
              <a:gd name="T1" fmla="*/ 144 h 288"/>
              <a:gd name="T2" fmla="*/ 1013 w 1157"/>
              <a:gd name="T3" fmla="*/ 288 h 288"/>
              <a:gd name="T4" fmla="*/ 869 w 1157"/>
              <a:gd name="T5" fmla="*/ 144 h 288"/>
              <a:gd name="T6" fmla="*/ 1013 w 1157"/>
              <a:gd name="T7" fmla="*/ 0 h 288"/>
              <a:gd name="T8" fmla="*/ 1157 w 1157"/>
              <a:gd name="T9" fmla="*/ 144 h 288"/>
              <a:gd name="T10" fmla="*/ 643 w 1157"/>
              <a:gd name="T11" fmla="*/ 5 h 288"/>
              <a:gd name="T12" fmla="*/ 569 w 1157"/>
              <a:gd name="T13" fmla="*/ 5 h 288"/>
              <a:gd name="T14" fmla="*/ 569 w 1157"/>
              <a:gd name="T15" fmla="*/ 107 h 288"/>
              <a:gd name="T16" fmla="*/ 467 w 1157"/>
              <a:gd name="T17" fmla="*/ 107 h 288"/>
              <a:gd name="T18" fmla="*/ 467 w 1157"/>
              <a:gd name="T19" fmla="*/ 181 h 288"/>
              <a:gd name="T20" fmla="*/ 569 w 1157"/>
              <a:gd name="T21" fmla="*/ 181 h 288"/>
              <a:gd name="T22" fmla="*/ 569 w 1157"/>
              <a:gd name="T23" fmla="*/ 283 h 288"/>
              <a:gd name="T24" fmla="*/ 643 w 1157"/>
              <a:gd name="T25" fmla="*/ 283 h 288"/>
              <a:gd name="T26" fmla="*/ 643 w 1157"/>
              <a:gd name="T27" fmla="*/ 181 h 288"/>
              <a:gd name="T28" fmla="*/ 745 w 1157"/>
              <a:gd name="T29" fmla="*/ 181 h 288"/>
              <a:gd name="T30" fmla="*/ 745 w 1157"/>
              <a:gd name="T31" fmla="*/ 107 h 288"/>
              <a:gd name="T32" fmla="*/ 643 w 1157"/>
              <a:gd name="T33" fmla="*/ 107 h 288"/>
              <a:gd name="T34" fmla="*/ 643 w 1157"/>
              <a:gd name="T35" fmla="*/ 5 h 288"/>
              <a:gd name="T36" fmla="*/ 255 w 1157"/>
              <a:gd name="T37" fmla="*/ 0 h 288"/>
              <a:gd name="T38" fmla="*/ 174 w 1157"/>
              <a:gd name="T39" fmla="*/ 53 h 288"/>
              <a:gd name="T40" fmla="*/ 93 w 1157"/>
              <a:gd name="T41" fmla="*/ 0 h 288"/>
              <a:gd name="T42" fmla="*/ 0 w 1157"/>
              <a:gd name="T43" fmla="*/ 91 h 288"/>
              <a:gd name="T44" fmla="*/ 174 w 1157"/>
              <a:gd name="T45" fmla="*/ 288 h 288"/>
              <a:gd name="T46" fmla="*/ 347 w 1157"/>
              <a:gd name="T47" fmla="*/ 91 h 288"/>
              <a:gd name="T48" fmla="*/ 255 w 1157"/>
              <a:gd name="T49" fmla="*/ 0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157" h="288">
                <a:moveTo>
                  <a:pt x="1157" y="144"/>
                </a:moveTo>
                <a:cubicBezTo>
                  <a:pt x="1157" y="223"/>
                  <a:pt x="1092" y="288"/>
                  <a:pt x="1013" y="288"/>
                </a:cubicBezTo>
                <a:cubicBezTo>
                  <a:pt x="933" y="288"/>
                  <a:pt x="869" y="223"/>
                  <a:pt x="869" y="144"/>
                </a:cubicBezTo>
                <a:cubicBezTo>
                  <a:pt x="869" y="65"/>
                  <a:pt x="933" y="0"/>
                  <a:pt x="1013" y="0"/>
                </a:cubicBezTo>
                <a:cubicBezTo>
                  <a:pt x="1092" y="0"/>
                  <a:pt x="1157" y="65"/>
                  <a:pt x="1157" y="144"/>
                </a:cubicBezTo>
                <a:close/>
                <a:moveTo>
                  <a:pt x="643" y="5"/>
                </a:moveTo>
                <a:cubicBezTo>
                  <a:pt x="569" y="5"/>
                  <a:pt x="569" y="5"/>
                  <a:pt x="569" y="5"/>
                </a:cubicBezTo>
                <a:cubicBezTo>
                  <a:pt x="569" y="107"/>
                  <a:pt x="569" y="107"/>
                  <a:pt x="569" y="107"/>
                </a:cubicBezTo>
                <a:cubicBezTo>
                  <a:pt x="467" y="107"/>
                  <a:pt x="467" y="107"/>
                  <a:pt x="467" y="107"/>
                </a:cubicBezTo>
                <a:cubicBezTo>
                  <a:pt x="467" y="181"/>
                  <a:pt x="467" y="181"/>
                  <a:pt x="467" y="181"/>
                </a:cubicBezTo>
                <a:cubicBezTo>
                  <a:pt x="569" y="181"/>
                  <a:pt x="569" y="181"/>
                  <a:pt x="569" y="181"/>
                </a:cubicBezTo>
                <a:cubicBezTo>
                  <a:pt x="569" y="283"/>
                  <a:pt x="569" y="283"/>
                  <a:pt x="569" y="283"/>
                </a:cubicBezTo>
                <a:cubicBezTo>
                  <a:pt x="643" y="283"/>
                  <a:pt x="643" y="283"/>
                  <a:pt x="643" y="283"/>
                </a:cubicBezTo>
                <a:cubicBezTo>
                  <a:pt x="643" y="181"/>
                  <a:pt x="643" y="181"/>
                  <a:pt x="643" y="181"/>
                </a:cubicBezTo>
                <a:cubicBezTo>
                  <a:pt x="745" y="181"/>
                  <a:pt x="745" y="181"/>
                  <a:pt x="745" y="181"/>
                </a:cubicBezTo>
                <a:cubicBezTo>
                  <a:pt x="745" y="107"/>
                  <a:pt x="745" y="107"/>
                  <a:pt x="745" y="107"/>
                </a:cubicBezTo>
                <a:cubicBezTo>
                  <a:pt x="643" y="107"/>
                  <a:pt x="643" y="107"/>
                  <a:pt x="643" y="107"/>
                </a:cubicBezTo>
                <a:lnTo>
                  <a:pt x="643" y="5"/>
                </a:lnTo>
                <a:close/>
                <a:moveTo>
                  <a:pt x="255" y="0"/>
                </a:moveTo>
                <a:cubicBezTo>
                  <a:pt x="196" y="0"/>
                  <a:pt x="174" y="53"/>
                  <a:pt x="174" y="53"/>
                </a:cubicBezTo>
                <a:cubicBezTo>
                  <a:pt x="174" y="53"/>
                  <a:pt x="151" y="0"/>
                  <a:pt x="93" y="0"/>
                </a:cubicBezTo>
                <a:cubicBezTo>
                  <a:pt x="27" y="0"/>
                  <a:pt x="0" y="57"/>
                  <a:pt x="0" y="91"/>
                </a:cubicBezTo>
                <a:cubicBezTo>
                  <a:pt x="0" y="159"/>
                  <a:pt x="80" y="244"/>
                  <a:pt x="174" y="288"/>
                </a:cubicBezTo>
                <a:cubicBezTo>
                  <a:pt x="267" y="244"/>
                  <a:pt x="347" y="159"/>
                  <a:pt x="347" y="91"/>
                </a:cubicBezTo>
                <a:cubicBezTo>
                  <a:pt x="347" y="57"/>
                  <a:pt x="320" y="0"/>
                  <a:pt x="25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dirty="0"/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C93FE44B-8E32-4C27-94AF-F71D14C85D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Pladsholder til dato 10" hidden="1">
            <a:extLst>
              <a:ext uri="{FF2B5EF4-FFF2-40B4-BE49-F238E27FC236}">
                <a16:creationId xmlns:a16="http://schemas.microsoft.com/office/drawing/2014/main" id="{8797082D-BCBF-4A53-BC27-DAFA0D88F3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Pladsholder til sidefod 11" hidden="1">
            <a:extLst>
              <a:ext uri="{FF2B5EF4-FFF2-40B4-BE49-F238E27FC236}">
                <a16:creationId xmlns:a16="http://schemas.microsoft.com/office/drawing/2014/main" id="{4D9FF13F-592A-4460-ACB8-9F49BEF116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133863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rvet baggrund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6EFDE22D-AEC6-44D1-9036-1CBF65072CEB}"/>
              </a:ext>
            </a:extLst>
          </p:cNvPr>
          <p:cNvSpPr/>
          <p:nvPr userDrawn="1"/>
        </p:nvSpPr>
        <p:spPr>
          <a:xfrm>
            <a:off x="0" y="0"/>
            <a:ext cx="60948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54800" y="632970"/>
            <a:ext cx="5299200" cy="934890"/>
          </a:xfrm>
        </p:spPr>
        <p:txBody>
          <a:bodyPr/>
          <a:lstStyle>
            <a:lvl1pPr>
              <a:lnSpc>
                <a:spcPct val="89000"/>
              </a:lnSpc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Overskrift skrives her i en eller to linj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54800" y="1900238"/>
            <a:ext cx="5299200" cy="41973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da-DK" noProof="0" dirty="0"/>
              <a:t>Klik og indsæt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9" name="Ikoner">
            <a:extLst>
              <a:ext uri="{FF2B5EF4-FFF2-40B4-BE49-F238E27FC236}">
                <a16:creationId xmlns:a16="http://schemas.microsoft.com/office/drawing/2014/main" id="{6EA125FF-4EB2-4137-A13A-E01C5CAD676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360253" y="6433592"/>
            <a:ext cx="399747" cy="100408"/>
          </a:xfrm>
          <a:custGeom>
            <a:avLst/>
            <a:gdLst>
              <a:gd name="T0" fmla="*/ 1157 w 1157"/>
              <a:gd name="T1" fmla="*/ 144 h 288"/>
              <a:gd name="T2" fmla="*/ 1013 w 1157"/>
              <a:gd name="T3" fmla="*/ 288 h 288"/>
              <a:gd name="T4" fmla="*/ 869 w 1157"/>
              <a:gd name="T5" fmla="*/ 144 h 288"/>
              <a:gd name="T6" fmla="*/ 1013 w 1157"/>
              <a:gd name="T7" fmla="*/ 0 h 288"/>
              <a:gd name="T8" fmla="*/ 1157 w 1157"/>
              <a:gd name="T9" fmla="*/ 144 h 288"/>
              <a:gd name="T10" fmla="*/ 643 w 1157"/>
              <a:gd name="T11" fmla="*/ 5 h 288"/>
              <a:gd name="T12" fmla="*/ 569 w 1157"/>
              <a:gd name="T13" fmla="*/ 5 h 288"/>
              <a:gd name="T14" fmla="*/ 569 w 1157"/>
              <a:gd name="T15" fmla="*/ 107 h 288"/>
              <a:gd name="T16" fmla="*/ 467 w 1157"/>
              <a:gd name="T17" fmla="*/ 107 h 288"/>
              <a:gd name="T18" fmla="*/ 467 w 1157"/>
              <a:gd name="T19" fmla="*/ 181 h 288"/>
              <a:gd name="T20" fmla="*/ 569 w 1157"/>
              <a:gd name="T21" fmla="*/ 181 h 288"/>
              <a:gd name="T22" fmla="*/ 569 w 1157"/>
              <a:gd name="T23" fmla="*/ 283 h 288"/>
              <a:gd name="T24" fmla="*/ 643 w 1157"/>
              <a:gd name="T25" fmla="*/ 283 h 288"/>
              <a:gd name="T26" fmla="*/ 643 w 1157"/>
              <a:gd name="T27" fmla="*/ 181 h 288"/>
              <a:gd name="T28" fmla="*/ 745 w 1157"/>
              <a:gd name="T29" fmla="*/ 181 h 288"/>
              <a:gd name="T30" fmla="*/ 745 w 1157"/>
              <a:gd name="T31" fmla="*/ 107 h 288"/>
              <a:gd name="T32" fmla="*/ 643 w 1157"/>
              <a:gd name="T33" fmla="*/ 107 h 288"/>
              <a:gd name="T34" fmla="*/ 643 w 1157"/>
              <a:gd name="T35" fmla="*/ 5 h 288"/>
              <a:gd name="T36" fmla="*/ 255 w 1157"/>
              <a:gd name="T37" fmla="*/ 0 h 288"/>
              <a:gd name="T38" fmla="*/ 174 w 1157"/>
              <a:gd name="T39" fmla="*/ 53 h 288"/>
              <a:gd name="T40" fmla="*/ 93 w 1157"/>
              <a:gd name="T41" fmla="*/ 0 h 288"/>
              <a:gd name="T42" fmla="*/ 0 w 1157"/>
              <a:gd name="T43" fmla="*/ 91 h 288"/>
              <a:gd name="T44" fmla="*/ 174 w 1157"/>
              <a:gd name="T45" fmla="*/ 288 h 288"/>
              <a:gd name="T46" fmla="*/ 347 w 1157"/>
              <a:gd name="T47" fmla="*/ 91 h 288"/>
              <a:gd name="T48" fmla="*/ 255 w 1157"/>
              <a:gd name="T49" fmla="*/ 0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157" h="288">
                <a:moveTo>
                  <a:pt x="1157" y="144"/>
                </a:moveTo>
                <a:cubicBezTo>
                  <a:pt x="1157" y="223"/>
                  <a:pt x="1092" y="288"/>
                  <a:pt x="1013" y="288"/>
                </a:cubicBezTo>
                <a:cubicBezTo>
                  <a:pt x="933" y="288"/>
                  <a:pt x="869" y="223"/>
                  <a:pt x="869" y="144"/>
                </a:cubicBezTo>
                <a:cubicBezTo>
                  <a:pt x="869" y="65"/>
                  <a:pt x="933" y="0"/>
                  <a:pt x="1013" y="0"/>
                </a:cubicBezTo>
                <a:cubicBezTo>
                  <a:pt x="1092" y="0"/>
                  <a:pt x="1157" y="65"/>
                  <a:pt x="1157" y="144"/>
                </a:cubicBezTo>
                <a:close/>
                <a:moveTo>
                  <a:pt x="643" y="5"/>
                </a:moveTo>
                <a:cubicBezTo>
                  <a:pt x="569" y="5"/>
                  <a:pt x="569" y="5"/>
                  <a:pt x="569" y="5"/>
                </a:cubicBezTo>
                <a:cubicBezTo>
                  <a:pt x="569" y="107"/>
                  <a:pt x="569" y="107"/>
                  <a:pt x="569" y="107"/>
                </a:cubicBezTo>
                <a:cubicBezTo>
                  <a:pt x="467" y="107"/>
                  <a:pt x="467" y="107"/>
                  <a:pt x="467" y="107"/>
                </a:cubicBezTo>
                <a:cubicBezTo>
                  <a:pt x="467" y="181"/>
                  <a:pt x="467" y="181"/>
                  <a:pt x="467" y="181"/>
                </a:cubicBezTo>
                <a:cubicBezTo>
                  <a:pt x="569" y="181"/>
                  <a:pt x="569" y="181"/>
                  <a:pt x="569" y="181"/>
                </a:cubicBezTo>
                <a:cubicBezTo>
                  <a:pt x="569" y="283"/>
                  <a:pt x="569" y="283"/>
                  <a:pt x="569" y="283"/>
                </a:cubicBezTo>
                <a:cubicBezTo>
                  <a:pt x="643" y="283"/>
                  <a:pt x="643" y="283"/>
                  <a:pt x="643" y="283"/>
                </a:cubicBezTo>
                <a:cubicBezTo>
                  <a:pt x="643" y="181"/>
                  <a:pt x="643" y="181"/>
                  <a:pt x="643" y="181"/>
                </a:cubicBezTo>
                <a:cubicBezTo>
                  <a:pt x="745" y="181"/>
                  <a:pt x="745" y="181"/>
                  <a:pt x="745" y="181"/>
                </a:cubicBezTo>
                <a:cubicBezTo>
                  <a:pt x="745" y="107"/>
                  <a:pt x="745" y="107"/>
                  <a:pt x="745" y="107"/>
                </a:cubicBezTo>
                <a:cubicBezTo>
                  <a:pt x="643" y="107"/>
                  <a:pt x="643" y="107"/>
                  <a:pt x="643" y="107"/>
                </a:cubicBezTo>
                <a:lnTo>
                  <a:pt x="643" y="5"/>
                </a:lnTo>
                <a:close/>
                <a:moveTo>
                  <a:pt x="255" y="0"/>
                </a:moveTo>
                <a:cubicBezTo>
                  <a:pt x="196" y="0"/>
                  <a:pt x="174" y="53"/>
                  <a:pt x="174" y="53"/>
                </a:cubicBezTo>
                <a:cubicBezTo>
                  <a:pt x="174" y="53"/>
                  <a:pt x="151" y="0"/>
                  <a:pt x="93" y="0"/>
                </a:cubicBezTo>
                <a:cubicBezTo>
                  <a:pt x="27" y="0"/>
                  <a:pt x="0" y="57"/>
                  <a:pt x="0" y="91"/>
                </a:cubicBezTo>
                <a:cubicBezTo>
                  <a:pt x="0" y="159"/>
                  <a:pt x="80" y="244"/>
                  <a:pt x="174" y="288"/>
                </a:cubicBezTo>
                <a:cubicBezTo>
                  <a:pt x="267" y="244"/>
                  <a:pt x="347" y="159"/>
                  <a:pt x="347" y="91"/>
                </a:cubicBezTo>
                <a:cubicBezTo>
                  <a:pt x="347" y="57"/>
                  <a:pt x="320" y="0"/>
                  <a:pt x="25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dirty="0"/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C5C33635-6099-4D0D-AB14-EA159BE88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Pladsholder til dato 10" hidden="1">
            <a:extLst>
              <a:ext uri="{FF2B5EF4-FFF2-40B4-BE49-F238E27FC236}">
                <a16:creationId xmlns:a16="http://schemas.microsoft.com/office/drawing/2014/main" id="{0E64D43B-1701-4143-A634-F2184E6440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Pladsholder til sidefod 11" hidden="1">
            <a:extLst>
              <a:ext uri="{FF2B5EF4-FFF2-40B4-BE49-F238E27FC236}">
                <a16:creationId xmlns:a16="http://schemas.microsoft.com/office/drawing/2014/main" id="{A5C4B665-3B2D-4FA3-8EF2-DE6A06F0B3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321233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6EFDE22D-AEC6-44D1-9036-1CBF65072CEB}"/>
              </a:ext>
            </a:extLst>
          </p:cNvPr>
          <p:cNvSpPr/>
          <p:nvPr userDrawn="1"/>
        </p:nvSpPr>
        <p:spPr>
          <a:xfrm>
            <a:off x="0" y="0"/>
            <a:ext cx="60948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54800" y="632970"/>
            <a:ext cx="5299200" cy="934890"/>
          </a:xfrm>
        </p:spPr>
        <p:txBody>
          <a:bodyPr/>
          <a:lstStyle>
            <a:lvl1pPr>
              <a:lnSpc>
                <a:spcPct val="89000"/>
              </a:lnSpc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Overskrift skrives her i en eller to linj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54800" y="1900238"/>
            <a:ext cx="5299200" cy="41973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da-DK" noProof="0" dirty="0"/>
              <a:t>Klik og indsæt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9" name="Ikoner">
            <a:extLst>
              <a:ext uri="{FF2B5EF4-FFF2-40B4-BE49-F238E27FC236}">
                <a16:creationId xmlns:a16="http://schemas.microsoft.com/office/drawing/2014/main" id="{6EA125FF-4EB2-4137-A13A-E01C5CAD676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360253" y="6433592"/>
            <a:ext cx="399747" cy="100408"/>
          </a:xfrm>
          <a:custGeom>
            <a:avLst/>
            <a:gdLst>
              <a:gd name="T0" fmla="*/ 1157 w 1157"/>
              <a:gd name="T1" fmla="*/ 144 h 288"/>
              <a:gd name="T2" fmla="*/ 1013 w 1157"/>
              <a:gd name="T3" fmla="*/ 288 h 288"/>
              <a:gd name="T4" fmla="*/ 869 w 1157"/>
              <a:gd name="T5" fmla="*/ 144 h 288"/>
              <a:gd name="T6" fmla="*/ 1013 w 1157"/>
              <a:gd name="T7" fmla="*/ 0 h 288"/>
              <a:gd name="T8" fmla="*/ 1157 w 1157"/>
              <a:gd name="T9" fmla="*/ 144 h 288"/>
              <a:gd name="T10" fmla="*/ 643 w 1157"/>
              <a:gd name="T11" fmla="*/ 5 h 288"/>
              <a:gd name="T12" fmla="*/ 569 w 1157"/>
              <a:gd name="T13" fmla="*/ 5 h 288"/>
              <a:gd name="T14" fmla="*/ 569 w 1157"/>
              <a:gd name="T15" fmla="*/ 107 h 288"/>
              <a:gd name="T16" fmla="*/ 467 w 1157"/>
              <a:gd name="T17" fmla="*/ 107 h 288"/>
              <a:gd name="T18" fmla="*/ 467 w 1157"/>
              <a:gd name="T19" fmla="*/ 181 h 288"/>
              <a:gd name="T20" fmla="*/ 569 w 1157"/>
              <a:gd name="T21" fmla="*/ 181 h 288"/>
              <a:gd name="T22" fmla="*/ 569 w 1157"/>
              <a:gd name="T23" fmla="*/ 283 h 288"/>
              <a:gd name="T24" fmla="*/ 643 w 1157"/>
              <a:gd name="T25" fmla="*/ 283 h 288"/>
              <a:gd name="T26" fmla="*/ 643 w 1157"/>
              <a:gd name="T27" fmla="*/ 181 h 288"/>
              <a:gd name="T28" fmla="*/ 745 w 1157"/>
              <a:gd name="T29" fmla="*/ 181 h 288"/>
              <a:gd name="T30" fmla="*/ 745 w 1157"/>
              <a:gd name="T31" fmla="*/ 107 h 288"/>
              <a:gd name="T32" fmla="*/ 643 w 1157"/>
              <a:gd name="T33" fmla="*/ 107 h 288"/>
              <a:gd name="T34" fmla="*/ 643 w 1157"/>
              <a:gd name="T35" fmla="*/ 5 h 288"/>
              <a:gd name="T36" fmla="*/ 255 w 1157"/>
              <a:gd name="T37" fmla="*/ 0 h 288"/>
              <a:gd name="T38" fmla="*/ 174 w 1157"/>
              <a:gd name="T39" fmla="*/ 53 h 288"/>
              <a:gd name="T40" fmla="*/ 93 w 1157"/>
              <a:gd name="T41" fmla="*/ 0 h 288"/>
              <a:gd name="T42" fmla="*/ 0 w 1157"/>
              <a:gd name="T43" fmla="*/ 91 h 288"/>
              <a:gd name="T44" fmla="*/ 174 w 1157"/>
              <a:gd name="T45" fmla="*/ 288 h 288"/>
              <a:gd name="T46" fmla="*/ 347 w 1157"/>
              <a:gd name="T47" fmla="*/ 91 h 288"/>
              <a:gd name="T48" fmla="*/ 255 w 1157"/>
              <a:gd name="T49" fmla="*/ 0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157" h="288">
                <a:moveTo>
                  <a:pt x="1157" y="144"/>
                </a:moveTo>
                <a:cubicBezTo>
                  <a:pt x="1157" y="223"/>
                  <a:pt x="1092" y="288"/>
                  <a:pt x="1013" y="288"/>
                </a:cubicBezTo>
                <a:cubicBezTo>
                  <a:pt x="933" y="288"/>
                  <a:pt x="869" y="223"/>
                  <a:pt x="869" y="144"/>
                </a:cubicBezTo>
                <a:cubicBezTo>
                  <a:pt x="869" y="65"/>
                  <a:pt x="933" y="0"/>
                  <a:pt x="1013" y="0"/>
                </a:cubicBezTo>
                <a:cubicBezTo>
                  <a:pt x="1092" y="0"/>
                  <a:pt x="1157" y="65"/>
                  <a:pt x="1157" y="144"/>
                </a:cubicBezTo>
                <a:close/>
                <a:moveTo>
                  <a:pt x="643" y="5"/>
                </a:moveTo>
                <a:cubicBezTo>
                  <a:pt x="569" y="5"/>
                  <a:pt x="569" y="5"/>
                  <a:pt x="569" y="5"/>
                </a:cubicBezTo>
                <a:cubicBezTo>
                  <a:pt x="569" y="107"/>
                  <a:pt x="569" y="107"/>
                  <a:pt x="569" y="107"/>
                </a:cubicBezTo>
                <a:cubicBezTo>
                  <a:pt x="467" y="107"/>
                  <a:pt x="467" y="107"/>
                  <a:pt x="467" y="107"/>
                </a:cubicBezTo>
                <a:cubicBezTo>
                  <a:pt x="467" y="181"/>
                  <a:pt x="467" y="181"/>
                  <a:pt x="467" y="181"/>
                </a:cubicBezTo>
                <a:cubicBezTo>
                  <a:pt x="569" y="181"/>
                  <a:pt x="569" y="181"/>
                  <a:pt x="569" y="181"/>
                </a:cubicBezTo>
                <a:cubicBezTo>
                  <a:pt x="569" y="283"/>
                  <a:pt x="569" y="283"/>
                  <a:pt x="569" y="283"/>
                </a:cubicBezTo>
                <a:cubicBezTo>
                  <a:pt x="643" y="283"/>
                  <a:pt x="643" y="283"/>
                  <a:pt x="643" y="283"/>
                </a:cubicBezTo>
                <a:cubicBezTo>
                  <a:pt x="643" y="181"/>
                  <a:pt x="643" y="181"/>
                  <a:pt x="643" y="181"/>
                </a:cubicBezTo>
                <a:cubicBezTo>
                  <a:pt x="745" y="181"/>
                  <a:pt x="745" y="181"/>
                  <a:pt x="745" y="181"/>
                </a:cubicBezTo>
                <a:cubicBezTo>
                  <a:pt x="745" y="107"/>
                  <a:pt x="745" y="107"/>
                  <a:pt x="745" y="107"/>
                </a:cubicBezTo>
                <a:cubicBezTo>
                  <a:pt x="643" y="107"/>
                  <a:pt x="643" y="107"/>
                  <a:pt x="643" y="107"/>
                </a:cubicBezTo>
                <a:lnTo>
                  <a:pt x="643" y="5"/>
                </a:lnTo>
                <a:close/>
                <a:moveTo>
                  <a:pt x="255" y="0"/>
                </a:moveTo>
                <a:cubicBezTo>
                  <a:pt x="196" y="0"/>
                  <a:pt x="174" y="53"/>
                  <a:pt x="174" y="53"/>
                </a:cubicBezTo>
                <a:cubicBezTo>
                  <a:pt x="174" y="53"/>
                  <a:pt x="151" y="0"/>
                  <a:pt x="93" y="0"/>
                </a:cubicBezTo>
                <a:cubicBezTo>
                  <a:pt x="27" y="0"/>
                  <a:pt x="0" y="57"/>
                  <a:pt x="0" y="91"/>
                </a:cubicBezTo>
                <a:cubicBezTo>
                  <a:pt x="0" y="159"/>
                  <a:pt x="80" y="244"/>
                  <a:pt x="174" y="288"/>
                </a:cubicBezTo>
                <a:cubicBezTo>
                  <a:pt x="267" y="244"/>
                  <a:pt x="347" y="159"/>
                  <a:pt x="347" y="91"/>
                </a:cubicBezTo>
                <a:cubicBezTo>
                  <a:pt x="347" y="57"/>
                  <a:pt x="320" y="0"/>
                  <a:pt x="25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dirty="0"/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C5C33635-6099-4D0D-AB14-EA159BE88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Pladsholder til dato 10" hidden="1">
            <a:extLst>
              <a:ext uri="{FF2B5EF4-FFF2-40B4-BE49-F238E27FC236}">
                <a16:creationId xmlns:a16="http://schemas.microsoft.com/office/drawing/2014/main" id="{0E64D43B-1701-4143-A634-F2184E6440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Pladsholder til sidefod 11" hidden="1">
            <a:extLst>
              <a:ext uri="{FF2B5EF4-FFF2-40B4-BE49-F238E27FC236}">
                <a16:creationId xmlns:a16="http://schemas.microsoft.com/office/drawing/2014/main" id="{A5C4B665-3B2D-4FA3-8EF2-DE6A06F0B3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98E83D3A-E2DC-4014-A218-F23A5A8048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900238"/>
            <a:ext cx="5303000" cy="4197350"/>
          </a:xfrm>
        </p:spPr>
        <p:txBody>
          <a:bodyPr>
            <a:normAutofit/>
          </a:bodyPr>
          <a:lstStyle>
            <a:lvl1pPr marL="0" indent="0">
              <a:lnSpc>
                <a:spcPct val="83000"/>
              </a:lnSpc>
              <a:spcBef>
                <a:spcPts val="6000"/>
              </a:spcBef>
              <a:spcAft>
                <a:spcPts val="400"/>
              </a:spcAft>
              <a:buFont typeface="Arial" panose="020B0604020202020204" pitchFamily="34" charset="0"/>
              <a:buChar char="​"/>
              <a:defRPr sz="10000" b="1">
                <a:solidFill>
                  <a:schemeClr val="bg1"/>
                </a:solidFill>
              </a:defRPr>
            </a:lvl1pPr>
            <a:lvl2pPr marL="0" indent="0">
              <a:lnSpc>
                <a:spcPct val="111000"/>
              </a:lnSpc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180000">
              <a:lnSpc>
                <a:spcPct val="114000"/>
              </a:lnSpc>
              <a:defRPr>
                <a:solidFill>
                  <a:schemeClr val="bg1"/>
                </a:solidFill>
              </a:defRPr>
            </a:lvl3pPr>
            <a:lvl4pPr marL="360000">
              <a:lnSpc>
                <a:spcPct val="114000"/>
              </a:lnSpc>
              <a:defRPr>
                <a:solidFill>
                  <a:schemeClr val="bg1"/>
                </a:solidFill>
              </a:defRPr>
            </a:lvl4pPr>
            <a:lvl5pPr marL="540000">
              <a:lnSpc>
                <a:spcPct val="114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Indsæt tal 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A7AB18CA-D15D-4150-802F-9E36348819D9}"/>
              </a:ext>
            </a:extLst>
          </p:cNvPr>
          <p:cNvSpPr txBox="1"/>
          <p:nvPr userDrawn="1"/>
        </p:nvSpPr>
        <p:spPr>
          <a:xfrm>
            <a:off x="-1173717" y="1900238"/>
            <a:ext cx="1040130" cy="16927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100" dirty="0"/>
              <a:t>For næste tekst niveau vælg ENTER og TAB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100" dirty="0"/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100" dirty="0"/>
              <a:t>For at få tal niveauet tilbage skal du vælge ENTER og SHIFT + TAB </a:t>
            </a:r>
          </a:p>
          <a:p>
            <a:pPr algn="r"/>
            <a:endParaRPr lang="da-DK" sz="1100" dirty="0" err="1"/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DAABE7F8-1F06-472C-9E25-82F6207F40C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031101" y="3429000"/>
            <a:ext cx="1897514" cy="2207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25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objekt til billeder s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5A6B7885-DDAE-450C-B00C-E86812F046A2}"/>
              </a:ext>
            </a:extLst>
          </p:cNvPr>
          <p:cNvSpPr/>
          <p:nvPr userDrawn="1"/>
        </p:nvSpPr>
        <p:spPr>
          <a:xfrm>
            <a:off x="3354998" y="0"/>
            <a:ext cx="8837001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EA72F82E-41CB-4503-864D-CF00A38EB36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354797" y="0"/>
            <a:ext cx="8837203" cy="6858000"/>
          </a:xfrm>
        </p:spPr>
        <p:txBody>
          <a:bodyPr tIns="612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 dirty="0"/>
              <a:t>Klik på ikonet og indsæt billed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2000" y="632970"/>
            <a:ext cx="2563200" cy="93489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Overskrift skrives her i en eller to linj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31799" y="1900238"/>
            <a:ext cx="2563200" cy="41973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og indsæt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4" name="Text Placeholder Ikoner">
            <a:extLst>
              <a:ext uri="{FF2B5EF4-FFF2-40B4-BE49-F238E27FC236}">
                <a16:creationId xmlns:a16="http://schemas.microsoft.com/office/drawing/2014/main" id="{527BF74F-F718-4318-88F1-B78CF3023F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360400" y="6433592"/>
            <a:ext cx="399600" cy="100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.</a:t>
            </a:r>
            <a:endParaRPr lang="da-DK" dirty="0"/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C93FE44B-8E32-4C27-94AF-F71D14C85D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Pladsholder til dato 10" hidden="1">
            <a:extLst>
              <a:ext uri="{FF2B5EF4-FFF2-40B4-BE49-F238E27FC236}">
                <a16:creationId xmlns:a16="http://schemas.microsoft.com/office/drawing/2014/main" id="{8797082D-BCBF-4A53-BC27-DAFA0D88F3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Pladsholder til sidefod 11" hidden="1">
            <a:extLst>
              <a:ext uri="{FF2B5EF4-FFF2-40B4-BE49-F238E27FC236}">
                <a16:creationId xmlns:a16="http://schemas.microsoft.com/office/drawing/2014/main" id="{4D9FF13F-592A-4460-ACB8-9F49BEF116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474728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dholdsobjekter på baggrund s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5A6B7885-DDAE-450C-B00C-E86812F046A2}"/>
              </a:ext>
            </a:extLst>
          </p:cNvPr>
          <p:cNvSpPr/>
          <p:nvPr userDrawn="1"/>
        </p:nvSpPr>
        <p:spPr>
          <a:xfrm>
            <a:off x="3354998" y="0"/>
            <a:ext cx="8837001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2000" y="632970"/>
            <a:ext cx="2563200" cy="93489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Overskrift skrives her i en eller to linj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37676" y="182881"/>
            <a:ext cx="8479064" cy="591470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og indsæt tabel eller graf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1801" y="1900800"/>
            <a:ext cx="2563400" cy="419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og indsæt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9" name="Ikoner">
            <a:extLst>
              <a:ext uri="{FF2B5EF4-FFF2-40B4-BE49-F238E27FC236}">
                <a16:creationId xmlns:a16="http://schemas.microsoft.com/office/drawing/2014/main" id="{6EA125FF-4EB2-4137-A13A-E01C5CAD676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360253" y="6433592"/>
            <a:ext cx="399747" cy="100408"/>
          </a:xfrm>
          <a:custGeom>
            <a:avLst/>
            <a:gdLst>
              <a:gd name="T0" fmla="*/ 1157 w 1157"/>
              <a:gd name="T1" fmla="*/ 144 h 288"/>
              <a:gd name="T2" fmla="*/ 1013 w 1157"/>
              <a:gd name="T3" fmla="*/ 288 h 288"/>
              <a:gd name="T4" fmla="*/ 869 w 1157"/>
              <a:gd name="T5" fmla="*/ 144 h 288"/>
              <a:gd name="T6" fmla="*/ 1013 w 1157"/>
              <a:gd name="T7" fmla="*/ 0 h 288"/>
              <a:gd name="T8" fmla="*/ 1157 w 1157"/>
              <a:gd name="T9" fmla="*/ 144 h 288"/>
              <a:gd name="T10" fmla="*/ 643 w 1157"/>
              <a:gd name="T11" fmla="*/ 5 h 288"/>
              <a:gd name="T12" fmla="*/ 569 w 1157"/>
              <a:gd name="T13" fmla="*/ 5 h 288"/>
              <a:gd name="T14" fmla="*/ 569 w 1157"/>
              <a:gd name="T15" fmla="*/ 107 h 288"/>
              <a:gd name="T16" fmla="*/ 467 w 1157"/>
              <a:gd name="T17" fmla="*/ 107 h 288"/>
              <a:gd name="T18" fmla="*/ 467 w 1157"/>
              <a:gd name="T19" fmla="*/ 181 h 288"/>
              <a:gd name="T20" fmla="*/ 569 w 1157"/>
              <a:gd name="T21" fmla="*/ 181 h 288"/>
              <a:gd name="T22" fmla="*/ 569 w 1157"/>
              <a:gd name="T23" fmla="*/ 283 h 288"/>
              <a:gd name="T24" fmla="*/ 643 w 1157"/>
              <a:gd name="T25" fmla="*/ 283 h 288"/>
              <a:gd name="T26" fmla="*/ 643 w 1157"/>
              <a:gd name="T27" fmla="*/ 181 h 288"/>
              <a:gd name="T28" fmla="*/ 745 w 1157"/>
              <a:gd name="T29" fmla="*/ 181 h 288"/>
              <a:gd name="T30" fmla="*/ 745 w 1157"/>
              <a:gd name="T31" fmla="*/ 107 h 288"/>
              <a:gd name="T32" fmla="*/ 643 w 1157"/>
              <a:gd name="T33" fmla="*/ 107 h 288"/>
              <a:gd name="T34" fmla="*/ 643 w 1157"/>
              <a:gd name="T35" fmla="*/ 5 h 288"/>
              <a:gd name="T36" fmla="*/ 255 w 1157"/>
              <a:gd name="T37" fmla="*/ 0 h 288"/>
              <a:gd name="T38" fmla="*/ 174 w 1157"/>
              <a:gd name="T39" fmla="*/ 53 h 288"/>
              <a:gd name="T40" fmla="*/ 93 w 1157"/>
              <a:gd name="T41" fmla="*/ 0 h 288"/>
              <a:gd name="T42" fmla="*/ 0 w 1157"/>
              <a:gd name="T43" fmla="*/ 91 h 288"/>
              <a:gd name="T44" fmla="*/ 174 w 1157"/>
              <a:gd name="T45" fmla="*/ 288 h 288"/>
              <a:gd name="T46" fmla="*/ 347 w 1157"/>
              <a:gd name="T47" fmla="*/ 91 h 288"/>
              <a:gd name="T48" fmla="*/ 255 w 1157"/>
              <a:gd name="T49" fmla="*/ 0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157" h="288">
                <a:moveTo>
                  <a:pt x="1157" y="144"/>
                </a:moveTo>
                <a:cubicBezTo>
                  <a:pt x="1157" y="223"/>
                  <a:pt x="1092" y="288"/>
                  <a:pt x="1013" y="288"/>
                </a:cubicBezTo>
                <a:cubicBezTo>
                  <a:pt x="933" y="288"/>
                  <a:pt x="869" y="223"/>
                  <a:pt x="869" y="144"/>
                </a:cubicBezTo>
                <a:cubicBezTo>
                  <a:pt x="869" y="65"/>
                  <a:pt x="933" y="0"/>
                  <a:pt x="1013" y="0"/>
                </a:cubicBezTo>
                <a:cubicBezTo>
                  <a:pt x="1092" y="0"/>
                  <a:pt x="1157" y="65"/>
                  <a:pt x="1157" y="144"/>
                </a:cubicBezTo>
                <a:close/>
                <a:moveTo>
                  <a:pt x="643" y="5"/>
                </a:moveTo>
                <a:cubicBezTo>
                  <a:pt x="569" y="5"/>
                  <a:pt x="569" y="5"/>
                  <a:pt x="569" y="5"/>
                </a:cubicBezTo>
                <a:cubicBezTo>
                  <a:pt x="569" y="107"/>
                  <a:pt x="569" y="107"/>
                  <a:pt x="569" y="107"/>
                </a:cubicBezTo>
                <a:cubicBezTo>
                  <a:pt x="467" y="107"/>
                  <a:pt x="467" y="107"/>
                  <a:pt x="467" y="107"/>
                </a:cubicBezTo>
                <a:cubicBezTo>
                  <a:pt x="467" y="181"/>
                  <a:pt x="467" y="181"/>
                  <a:pt x="467" y="181"/>
                </a:cubicBezTo>
                <a:cubicBezTo>
                  <a:pt x="569" y="181"/>
                  <a:pt x="569" y="181"/>
                  <a:pt x="569" y="181"/>
                </a:cubicBezTo>
                <a:cubicBezTo>
                  <a:pt x="569" y="283"/>
                  <a:pt x="569" y="283"/>
                  <a:pt x="569" y="283"/>
                </a:cubicBezTo>
                <a:cubicBezTo>
                  <a:pt x="643" y="283"/>
                  <a:pt x="643" y="283"/>
                  <a:pt x="643" y="283"/>
                </a:cubicBezTo>
                <a:cubicBezTo>
                  <a:pt x="643" y="181"/>
                  <a:pt x="643" y="181"/>
                  <a:pt x="643" y="181"/>
                </a:cubicBezTo>
                <a:cubicBezTo>
                  <a:pt x="745" y="181"/>
                  <a:pt x="745" y="181"/>
                  <a:pt x="745" y="181"/>
                </a:cubicBezTo>
                <a:cubicBezTo>
                  <a:pt x="745" y="107"/>
                  <a:pt x="745" y="107"/>
                  <a:pt x="745" y="107"/>
                </a:cubicBezTo>
                <a:cubicBezTo>
                  <a:pt x="643" y="107"/>
                  <a:pt x="643" y="107"/>
                  <a:pt x="643" y="107"/>
                </a:cubicBezTo>
                <a:lnTo>
                  <a:pt x="643" y="5"/>
                </a:lnTo>
                <a:close/>
                <a:moveTo>
                  <a:pt x="255" y="0"/>
                </a:moveTo>
                <a:cubicBezTo>
                  <a:pt x="196" y="0"/>
                  <a:pt x="174" y="53"/>
                  <a:pt x="174" y="53"/>
                </a:cubicBezTo>
                <a:cubicBezTo>
                  <a:pt x="174" y="53"/>
                  <a:pt x="151" y="0"/>
                  <a:pt x="93" y="0"/>
                </a:cubicBezTo>
                <a:cubicBezTo>
                  <a:pt x="27" y="0"/>
                  <a:pt x="0" y="57"/>
                  <a:pt x="0" y="91"/>
                </a:cubicBezTo>
                <a:cubicBezTo>
                  <a:pt x="0" y="159"/>
                  <a:pt x="80" y="244"/>
                  <a:pt x="174" y="288"/>
                </a:cubicBezTo>
                <a:cubicBezTo>
                  <a:pt x="267" y="244"/>
                  <a:pt x="347" y="159"/>
                  <a:pt x="347" y="91"/>
                </a:cubicBezTo>
                <a:cubicBezTo>
                  <a:pt x="347" y="57"/>
                  <a:pt x="320" y="0"/>
                  <a:pt x="25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dirty="0"/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C93FE44B-8E32-4C27-94AF-F71D14C85D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Pladsholder til dato 10" hidden="1">
            <a:extLst>
              <a:ext uri="{FF2B5EF4-FFF2-40B4-BE49-F238E27FC236}">
                <a16:creationId xmlns:a16="http://schemas.microsoft.com/office/drawing/2014/main" id="{8797082D-BCBF-4A53-BC27-DAFA0D88F3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Pladsholder til sidefod 11" hidden="1">
            <a:extLst>
              <a:ext uri="{FF2B5EF4-FFF2-40B4-BE49-F238E27FC236}">
                <a16:creationId xmlns:a16="http://schemas.microsoft.com/office/drawing/2014/main" id="{4D9FF13F-592A-4460-ACB8-9F49BEF116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455801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>
            <a:extLst>
              <a:ext uri="{FF2B5EF4-FFF2-40B4-BE49-F238E27FC236}">
                <a16:creationId xmlns:a16="http://schemas.microsoft.com/office/drawing/2014/main" id="{7014AFF4-321B-47D7-A0CD-0CFE22C65E31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614024"/>
            <a:ext cx="6940800" cy="3621600"/>
          </a:xfrm>
        </p:spPr>
        <p:txBody>
          <a:bodyPr anchor="t" anchorCtr="0"/>
          <a:lstStyle>
            <a:lvl1pPr algn="l">
              <a:defRPr sz="5000" b="1">
                <a:solidFill>
                  <a:schemeClr val="bg2"/>
                </a:solidFill>
              </a:defRPr>
            </a:lvl1pPr>
          </a:lstStyle>
          <a:p>
            <a:r>
              <a:rPr lang="da-DK" dirty="0"/>
              <a:t>Overskrift skrives her i flere linjer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40752A6-1750-4291-B91A-BCBA280283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5577840"/>
            <a:ext cx="4021200" cy="7058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>
                <a:solidFill>
                  <a:schemeClr val="bg2"/>
                </a:solidFill>
              </a:defRPr>
            </a:lvl1pPr>
            <a:lvl2pPr marL="216000" indent="0">
              <a:buNone/>
              <a:defRPr/>
            </a:lvl2pPr>
          </a:lstStyle>
          <a:p>
            <a:pPr lvl="0"/>
            <a:r>
              <a:rPr lang="da-DK" dirty="0"/>
              <a:t>Klik og indsæt tekst</a:t>
            </a:r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Ikoner">
            <a:extLst>
              <a:ext uri="{FF2B5EF4-FFF2-40B4-BE49-F238E27FC236}">
                <a16:creationId xmlns:a16="http://schemas.microsoft.com/office/drawing/2014/main" id="{2A9BEE6D-CFD0-42D9-A84B-7B4DDAE6F48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32000" y="6433592"/>
            <a:ext cx="399747" cy="100408"/>
          </a:xfrm>
          <a:custGeom>
            <a:avLst/>
            <a:gdLst>
              <a:gd name="T0" fmla="*/ 1157 w 1157"/>
              <a:gd name="T1" fmla="*/ 144 h 288"/>
              <a:gd name="T2" fmla="*/ 1013 w 1157"/>
              <a:gd name="T3" fmla="*/ 288 h 288"/>
              <a:gd name="T4" fmla="*/ 869 w 1157"/>
              <a:gd name="T5" fmla="*/ 144 h 288"/>
              <a:gd name="T6" fmla="*/ 1013 w 1157"/>
              <a:gd name="T7" fmla="*/ 0 h 288"/>
              <a:gd name="T8" fmla="*/ 1157 w 1157"/>
              <a:gd name="T9" fmla="*/ 144 h 288"/>
              <a:gd name="T10" fmla="*/ 643 w 1157"/>
              <a:gd name="T11" fmla="*/ 5 h 288"/>
              <a:gd name="T12" fmla="*/ 569 w 1157"/>
              <a:gd name="T13" fmla="*/ 5 h 288"/>
              <a:gd name="T14" fmla="*/ 569 w 1157"/>
              <a:gd name="T15" fmla="*/ 107 h 288"/>
              <a:gd name="T16" fmla="*/ 467 w 1157"/>
              <a:gd name="T17" fmla="*/ 107 h 288"/>
              <a:gd name="T18" fmla="*/ 467 w 1157"/>
              <a:gd name="T19" fmla="*/ 181 h 288"/>
              <a:gd name="T20" fmla="*/ 569 w 1157"/>
              <a:gd name="T21" fmla="*/ 181 h 288"/>
              <a:gd name="T22" fmla="*/ 569 w 1157"/>
              <a:gd name="T23" fmla="*/ 283 h 288"/>
              <a:gd name="T24" fmla="*/ 643 w 1157"/>
              <a:gd name="T25" fmla="*/ 283 h 288"/>
              <a:gd name="T26" fmla="*/ 643 w 1157"/>
              <a:gd name="T27" fmla="*/ 181 h 288"/>
              <a:gd name="T28" fmla="*/ 745 w 1157"/>
              <a:gd name="T29" fmla="*/ 181 h 288"/>
              <a:gd name="T30" fmla="*/ 745 w 1157"/>
              <a:gd name="T31" fmla="*/ 107 h 288"/>
              <a:gd name="T32" fmla="*/ 643 w 1157"/>
              <a:gd name="T33" fmla="*/ 107 h 288"/>
              <a:gd name="T34" fmla="*/ 643 w 1157"/>
              <a:gd name="T35" fmla="*/ 5 h 288"/>
              <a:gd name="T36" fmla="*/ 255 w 1157"/>
              <a:gd name="T37" fmla="*/ 0 h 288"/>
              <a:gd name="T38" fmla="*/ 174 w 1157"/>
              <a:gd name="T39" fmla="*/ 53 h 288"/>
              <a:gd name="T40" fmla="*/ 93 w 1157"/>
              <a:gd name="T41" fmla="*/ 0 h 288"/>
              <a:gd name="T42" fmla="*/ 0 w 1157"/>
              <a:gd name="T43" fmla="*/ 91 h 288"/>
              <a:gd name="T44" fmla="*/ 174 w 1157"/>
              <a:gd name="T45" fmla="*/ 288 h 288"/>
              <a:gd name="T46" fmla="*/ 347 w 1157"/>
              <a:gd name="T47" fmla="*/ 91 h 288"/>
              <a:gd name="T48" fmla="*/ 255 w 1157"/>
              <a:gd name="T49" fmla="*/ 0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157" h="288">
                <a:moveTo>
                  <a:pt x="1157" y="144"/>
                </a:moveTo>
                <a:cubicBezTo>
                  <a:pt x="1157" y="223"/>
                  <a:pt x="1092" y="288"/>
                  <a:pt x="1013" y="288"/>
                </a:cubicBezTo>
                <a:cubicBezTo>
                  <a:pt x="933" y="288"/>
                  <a:pt x="869" y="223"/>
                  <a:pt x="869" y="144"/>
                </a:cubicBezTo>
                <a:cubicBezTo>
                  <a:pt x="869" y="65"/>
                  <a:pt x="933" y="0"/>
                  <a:pt x="1013" y="0"/>
                </a:cubicBezTo>
                <a:cubicBezTo>
                  <a:pt x="1092" y="0"/>
                  <a:pt x="1157" y="65"/>
                  <a:pt x="1157" y="144"/>
                </a:cubicBezTo>
                <a:close/>
                <a:moveTo>
                  <a:pt x="643" y="5"/>
                </a:moveTo>
                <a:cubicBezTo>
                  <a:pt x="569" y="5"/>
                  <a:pt x="569" y="5"/>
                  <a:pt x="569" y="5"/>
                </a:cubicBezTo>
                <a:cubicBezTo>
                  <a:pt x="569" y="107"/>
                  <a:pt x="569" y="107"/>
                  <a:pt x="569" y="107"/>
                </a:cubicBezTo>
                <a:cubicBezTo>
                  <a:pt x="467" y="107"/>
                  <a:pt x="467" y="107"/>
                  <a:pt x="467" y="107"/>
                </a:cubicBezTo>
                <a:cubicBezTo>
                  <a:pt x="467" y="181"/>
                  <a:pt x="467" y="181"/>
                  <a:pt x="467" y="181"/>
                </a:cubicBezTo>
                <a:cubicBezTo>
                  <a:pt x="569" y="181"/>
                  <a:pt x="569" y="181"/>
                  <a:pt x="569" y="181"/>
                </a:cubicBezTo>
                <a:cubicBezTo>
                  <a:pt x="569" y="283"/>
                  <a:pt x="569" y="283"/>
                  <a:pt x="569" y="283"/>
                </a:cubicBezTo>
                <a:cubicBezTo>
                  <a:pt x="643" y="283"/>
                  <a:pt x="643" y="283"/>
                  <a:pt x="643" y="283"/>
                </a:cubicBezTo>
                <a:cubicBezTo>
                  <a:pt x="643" y="181"/>
                  <a:pt x="643" y="181"/>
                  <a:pt x="643" y="181"/>
                </a:cubicBezTo>
                <a:cubicBezTo>
                  <a:pt x="745" y="181"/>
                  <a:pt x="745" y="181"/>
                  <a:pt x="745" y="181"/>
                </a:cubicBezTo>
                <a:cubicBezTo>
                  <a:pt x="745" y="107"/>
                  <a:pt x="745" y="107"/>
                  <a:pt x="745" y="107"/>
                </a:cubicBezTo>
                <a:cubicBezTo>
                  <a:pt x="643" y="107"/>
                  <a:pt x="643" y="107"/>
                  <a:pt x="643" y="107"/>
                </a:cubicBezTo>
                <a:lnTo>
                  <a:pt x="643" y="5"/>
                </a:lnTo>
                <a:close/>
                <a:moveTo>
                  <a:pt x="255" y="0"/>
                </a:moveTo>
                <a:cubicBezTo>
                  <a:pt x="196" y="0"/>
                  <a:pt x="174" y="53"/>
                  <a:pt x="174" y="53"/>
                </a:cubicBezTo>
                <a:cubicBezTo>
                  <a:pt x="174" y="53"/>
                  <a:pt x="151" y="0"/>
                  <a:pt x="93" y="0"/>
                </a:cubicBezTo>
                <a:cubicBezTo>
                  <a:pt x="27" y="0"/>
                  <a:pt x="0" y="57"/>
                  <a:pt x="0" y="91"/>
                </a:cubicBezTo>
                <a:cubicBezTo>
                  <a:pt x="0" y="159"/>
                  <a:pt x="80" y="244"/>
                  <a:pt x="174" y="288"/>
                </a:cubicBezTo>
                <a:cubicBezTo>
                  <a:pt x="267" y="244"/>
                  <a:pt x="347" y="159"/>
                  <a:pt x="347" y="91"/>
                </a:cubicBezTo>
                <a:cubicBezTo>
                  <a:pt x="347" y="57"/>
                  <a:pt x="320" y="0"/>
                  <a:pt x="25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84086138"/>
      </p:ext>
    </p:extLst>
  </p:cSld>
  <p:clrMapOvr>
    <a:masterClrMapping/>
  </p:clrMapOvr>
  <p:hf sldNum="0" hdr="0" ft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sid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>
            <a:extLst>
              <a:ext uri="{FF2B5EF4-FFF2-40B4-BE49-F238E27FC236}">
                <a16:creationId xmlns:a16="http://schemas.microsoft.com/office/drawing/2014/main" id="{7014AFF4-321B-47D7-A0CD-0CFE22C65E31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D42F2ED6-695B-42D6-BF46-316DB0DA3982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0" y="-1"/>
            <a:ext cx="12189600" cy="6858000"/>
          </a:xfrm>
          <a:prstGeom prst="rect">
            <a:avLst/>
          </a:prstGeom>
          <a:noFill/>
        </p:spPr>
        <p:txBody>
          <a:bodyPr lIns="0" tIns="72000" rIns="144000" bIns="0" anchor="t" anchorCtr="0"/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Klik her på rammen for at tilføje et billed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614024"/>
            <a:ext cx="6940800" cy="3621600"/>
          </a:xfrm>
        </p:spPr>
        <p:txBody>
          <a:bodyPr anchor="t" anchorCtr="0"/>
          <a:lstStyle>
            <a:lvl1pPr algn="l">
              <a:defRPr sz="5000" b="1">
                <a:solidFill>
                  <a:schemeClr val="bg2"/>
                </a:solidFill>
              </a:defRPr>
            </a:lvl1pPr>
          </a:lstStyle>
          <a:p>
            <a:r>
              <a:rPr lang="da-DK" dirty="0"/>
              <a:t>Overskrift skrives her i flere linjer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40752A6-1750-4291-B91A-BCBA280283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5577840"/>
            <a:ext cx="4021200" cy="7058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>
                <a:solidFill>
                  <a:schemeClr val="bg2"/>
                </a:solidFill>
              </a:defRPr>
            </a:lvl1pPr>
            <a:lvl2pPr marL="216000" indent="0">
              <a:buNone/>
              <a:defRPr/>
            </a:lvl2pPr>
          </a:lstStyle>
          <a:p>
            <a:pPr lvl="0"/>
            <a:r>
              <a:rPr lang="da-DK" dirty="0"/>
              <a:t>Klik og indsæt tekst</a:t>
            </a:r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Text Placeholder Ikoner">
            <a:extLst>
              <a:ext uri="{FF2B5EF4-FFF2-40B4-BE49-F238E27FC236}">
                <a16:creationId xmlns:a16="http://schemas.microsoft.com/office/drawing/2014/main" id="{9DA53165-D918-4619-BB9D-376E8930B3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0" y="6433592"/>
            <a:ext cx="399600" cy="100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.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982519384"/>
      </p:ext>
    </p:extLst>
  </p:cSld>
  <p:clrMapOvr>
    <a:masterClrMapping/>
  </p:clrMapOvr>
  <p:hf sldNum="0"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lys grøn/bourdeau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>
            <a:extLst>
              <a:ext uri="{FF2B5EF4-FFF2-40B4-BE49-F238E27FC236}">
                <a16:creationId xmlns:a16="http://schemas.microsoft.com/office/drawing/2014/main" id="{7014AFF4-321B-47D7-A0CD-0CFE22C65E31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1122362"/>
            <a:ext cx="6940800" cy="3621600"/>
          </a:xfrm>
        </p:spPr>
        <p:txBody>
          <a:bodyPr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skrives her i flere linjer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>
          <a:xfrm>
            <a:off x="431999" y="5883332"/>
            <a:ext cx="4021200" cy="180000"/>
          </a:xfrm>
        </p:spPr>
        <p:txBody>
          <a:bodyPr/>
          <a:lstStyle>
            <a:lvl1pPr>
              <a:defRPr lang="en-GB" sz="1500" dirty="0">
                <a:solidFill>
                  <a:schemeClr val="bg1"/>
                </a:solidFill>
              </a:defRPr>
            </a:lvl1pPr>
          </a:lstStyle>
          <a:p>
            <a:fld id="{F2CF9434-4206-4AC2-A91A-1DCD05F48644}" type="datetime2">
              <a:rPr lang="da-DK" smtClean="0"/>
              <a:t>4. april 2024</a:t>
            </a:fld>
            <a:endParaRPr lang="da-DK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40752A6-1750-4291-B91A-BCBA280283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6090239"/>
            <a:ext cx="4021200" cy="25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216000" indent="0">
              <a:buNone/>
              <a:defRPr/>
            </a:lvl2pPr>
          </a:lstStyle>
          <a:p>
            <a:pPr lvl="0"/>
            <a:r>
              <a:rPr lang="da-DK" dirty="0"/>
              <a:t>Indsæt navn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757160F-1609-4C06-9280-500899BD0D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6343649"/>
            <a:ext cx="4021200" cy="25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216000" indent="0">
              <a:buNone/>
              <a:defRPr/>
            </a:lvl2pPr>
          </a:lstStyle>
          <a:p>
            <a:pPr lvl="0"/>
            <a:r>
              <a:rPr lang="da-DK" dirty="0"/>
              <a:t>Indsæt titel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097836F4-DF01-4985-A4C0-2A0AF3CD00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1" y="336145"/>
            <a:ext cx="1800659" cy="421958"/>
          </a:xfrm>
          <a:prstGeom prst="rect">
            <a:avLst/>
          </a:prstGeom>
        </p:spPr>
      </p:pic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4" name="Ikoner">
            <a:extLst>
              <a:ext uri="{FF2B5EF4-FFF2-40B4-BE49-F238E27FC236}">
                <a16:creationId xmlns:a16="http://schemas.microsoft.com/office/drawing/2014/main" id="{92F67898-8AD5-4046-A28E-69425C57589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32000" y="5032800"/>
            <a:ext cx="1346400" cy="338400"/>
          </a:xfrm>
          <a:custGeom>
            <a:avLst/>
            <a:gdLst>
              <a:gd name="T0" fmla="*/ 1157 w 1157"/>
              <a:gd name="T1" fmla="*/ 144 h 288"/>
              <a:gd name="T2" fmla="*/ 1013 w 1157"/>
              <a:gd name="T3" fmla="*/ 288 h 288"/>
              <a:gd name="T4" fmla="*/ 869 w 1157"/>
              <a:gd name="T5" fmla="*/ 144 h 288"/>
              <a:gd name="T6" fmla="*/ 1013 w 1157"/>
              <a:gd name="T7" fmla="*/ 0 h 288"/>
              <a:gd name="T8" fmla="*/ 1157 w 1157"/>
              <a:gd name="T9" fmla="*/ 144 h 288"/>
              <a:gd name="T10" fmla="*/ 643 w 1157"/>
              <a:gd name="T11" fmla="*/ 5 h 288"/>
              <a:gd name="T12" fmla="*/ 569 w 1157"/>
              <a:gd name="T13" fmla="*/ 5 h 288"/>
              <a:gd name="T14" fmla="*/ 569 w 1157"/>
              <a:gd name="T15" fmla="*/ 107 h 288"/>
              <a:gd name="T16" fmla="*/ 467 w 1157"/>
              <a:gd name="T17" fmla="*/ 107 h 288"/>
              <a:gd name="T18" fmla="*/ 467 w 1157"/>
              <a:gd name="T19" fmla="*/ 181 h 288"/>
              <a:gd name="T20" fmla="*/ 569 w 1157"/>
              <a:gd name="T21" fmla="*/ 181 h 288"/>
              <a:gd name="T22" fmla="*/ 569 w 1157"/>
              <a:gd name="T23" fmla="*/ 283 h 288"/>
              <a:gd name="T24" fmla="*/ 643 w 1157"/>
              <a:gd name="T25" fmla="*/ 283 h 288"/>
              <a:gd name="T26" fmla="*/ 643 w 1157"/>
              <a:gd name="T27" fmla="*/ 181 h 288"/>
              <a:gd name="T28" fmla="*/ 745 w 1157"/>
              <a:gd name="T29" fmla="*/ 181 h 288"/>
              <a:gd name="T30" fmla="*/ 745 w 1157"/>
              <a:gd name="T31" fmla="*/ 107 h 288"/>
              <a:gd name="T32" fmla="*/ 643 w 1157"/>
              <a:gd name="T33" fmla="*/ 107 h 288"/>
              <a:gd name="T34" fmla="*/ 643 w 1157"/>
              <a:gd name="T35" fmla="*/ 5 h 288"/>
              <a:gd name="T36" fmla="*/ 255 w 1157"/>
              <a:gd name="T37" fmla="*/ 0 h 288"/>
              <a:gd name="T38" fmla="*/ 174 w 1157"/>
              <a:gd name="T39" fmla="*/ 53 h 288"/>
              <a:gd name="T40" fmla="*/ 93 w 1157"/>
              <a:gd name="T41" fmla="*/ 0 h 288"/>
              <a:gd name="T42" fmla="*/ 0 w 1157"/>
              <a:gd name="T43" fmla="*/ 91 h 288"/>
              <a:gd name="T44" fmla="*/ 174 w 1157"/>
              <a:gd name="T45" fmla="*/ 288 h 288"/>
              <a:gd name="T46" fmla="*/ 347 w 1157"/>
              <a:gd name="T47" fmla="*/ 91 h 288"/>
              <a:gd name="T48" fmla="*/ 255 w 1157"/>
              <a:gd name="T49" fmla="*/ 0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157" h="288">
                <a:moveTo>
                  <a:pt x="1157" y="144"/>
                </a:moveTo>
                <a:cubicBezTo>
                  <a:pt x="1157" y="223"/>
                  <a:pt x="1092" y="288"/>
                  <a:pt x="1013" y="288"/>
                </a:cubicBezTo>
                <a:cubicBezTo>
                  <a:pt x="933" y="288"/>
                  <a:pt x="869" y="223"/>
                  <a:pt x="869" y="144"/>
                </a:cubicBezTo>
                <a:cubicBezTo>
                  <a:pt x="869" y="65"/>
                  <a:pt x="933" y="0"/>
                  <a:pt x="1013" y="0"/>
                </a:cubicBezTo>
                <a:cubicBezTo>
                  <a:pt x="1092" y="0"/>
                  <a:pt x="1157" y="65"/>
                  <a:pt x="1157" y="144"/>
                </a:cubicBezTo>
                <a:close/>
                <a:moveTo>
                  <a:pt x="643" y="5"/>
                </a:moveTo>
                <a:cubicBezTo>
                  <a:pt x="569" y="5"/>
                  <a:pt x="569" y="5"/>
                  <a:pt x="569" y="5"/>
                </a:cubicBezTo>
                <a:cubicBezTo>
                  <a:pt x="569" y="107"/>
                  <a:pt x="569" y="107"/>
                  <a:pt x="569" y="107"/>
                </a:cubicBezTo>
                <a:cubicBezTo>
                  <a:pt x="467" y="107"/>
                  <a:pt x="467" y="107"/>
                  <a:pt x="467" y="107"/>
                </a:cubicBezTo>
                <a:cubicBezTo>
                  <a:pt x="467" y="181"/>
                  <a:pt x="467" y="181"/>
                  <a:pt x="467" y="181"/>
                </a:cubicBezTo>
                <a:cubicBezTo>
                  <a:pt x="569" y="181"/>
                  <a:pt x="569" y="181"/>
                  <a:pt x="569" y="181"/>
                </a:cubicBezTo>
                <a:cubicBezTo>
                  <a:pt x="569" y="283"/>
                  <a:pt x="569" y="283"/>
                  <a:pt x="569" y="283"/>
                </a:cubicBezTo>
                <a:cubicBezTo>
                  <a:pt x="643" y="283"/>
                  <a:pt x="643" y="283"/>
                  <a:pt x="643" y="283"/>
                </a:cubicBezTo>
                <a:cubicBezTo>
                  <a:pt x="643" y="181"/>
                  <a:pt x="643" y="181"/>
                  <a:pt x="643" y="181"/>
                </a:cubicBezTo>
                <a:cubicBezTo>
                  <a:pt x="745" y="181"/>
                  <a:pt x="745" y="181"/>
                  <a:pt x="745" y="181"/>
                </a:cubicBezTo>
                <a:cubicBezTo>
                  <a:pt x="745" y="107"/>
                  <a:pt x="745" y="107"/>
                  <a:pt x="745" y="107"/>
                </a:cubicBezTo>
                <a:cubicBezTo>
                  <a:pt x="643" y="107"/>
                  <a:pt x="643" y="107"/>
                  <a:pt x="643" y="107"/>
                </a:cubicBezTo>
                <a:lnTo>
                  <a:pt x="643" y="5"/>
                </a:lnTo>
                <a:close/>
                <a:moveTo>
                  <a:pt x="255" y="0"/>
                </a:moveTo>
                <a:cubicBezTo>
                  <a:pt x="196" y="0"/>
                  <a:pt x="174" y="53"/>
                  <a:pt x="174" y="53"/>
                </a:cubicBezTo>
                <a:cubicBezTo>
                  <a:pt x="174" y="53"/>
                  <a:pt x="151" y="0"/>
                  <a:pt x="93" y="0"/>
                </a:cubicBezTo>
                <a:cubicBezTo>
                  <a:pt x="27" y="0"/>
                  <a:pt x="0" y="57"/>
                  <a:pt x="0" y="91"/>
                </a:cubicBezTo>
                <a:cubicBezTo>
                  <a:pt x="0" y="159"/>
                  <a:pt x="80" y="244"/>
                  <a:pt x="174" y="288"/>
                </a:cubicBezTo>
                <a:cubicBezTo>
                  <a:pt x="267" y="244"/>
                  <a:pt x="347" y="159"/>
                  <a:pt x="347" y="91"/>
                </a:cubicBezTo>
                <a:cubicBezTo>
                  <a:pt x="347" y="57"/>
                  <a:pt x="320" y="0"/>
                  <a:pt x="25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65494038"/>
      </p:ext>
    </p:extLst>
  </p:cSld>
  <p:clrMapOvr>
    <a:masterClrMapping/>
  </p:clrMapOvr>
  <p:hf sldNum="0" hdr="0" ft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g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pic>
        <p:nvPicPr>
          <p:cNvPr id="15" name="Sundhed for alle">
            <a:extLst>
              <a:ext uri="{FF2B5EF4-FFF2-40B4-BE49-F238E27FC236}">
                <a16:creationId xmlns:a16="http://schemas.microsoft.com/office/drawing/2014/main" id="{65A81536-7304-43DD-A863-55235CA03E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" y="6416826"/>
            <a:ext cx="1198924" cy="113156"/>
          </a:xfrm>
          <a:prstGeom prst="rect">
            <a:avLst/>
          </a:prstGeom>
        </p:spPr>
      </p:pic>
      <p:sp>
        <p:nvSpPr>
          <p:cNvPr id="11" name="Pladsholder til dato 10" hidden="1">
            <a:extLst>
              <a:ext uri="{FF2B5EF4-FFF2-40B4-BE49-F238E27FC236}">
                <a16:creationId xmlns:a16="http://schemas.microsoft.com/office/drawing/2014/main" id="{BBE9FAEB-EC4D-4143-A8CF-E340BF310BB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12" name="Pladsholder til sidefod 11" hidden="1">
            <a:extLst>
              <a:ext uri="{FF2B5EF4-FFF2-40B4-BE49-F238E27FC236}">
                <a16:creationId xmlns:a16="http://schemas.microsoft.com/office/drawing/2014/main" id="{9B2D7094-41F1-44D8-8A24-ED33D2D6D0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13" name="Pladsholder til slidenummer 12" hidden="1">
            <a:extLst>
              <a:ext uri="{FF2B5EF4-FFF2-40B4-BE49-F238E27FC236}">
                <a16:creationId xmlns:a16="http://schemas.microsoft.com/office/drawing/2014/main" id="{97CC701D-01D2-4A62-A417-B4D465973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grpSp>
        <p:nvGrpSpPr>
          <p:cNvPr id="21" name="Group 4">
            <a:extLst>
              <a:ext uri="{FF2B5EF4-FFF2-40B4-BE49-F238E27FC236}">
                <a16:creationId xmlns:a16="http://schemas.microsoft.com/office/drawing/2014/main" id="{E956B872-CF93-4AE7-8F83-A6832DF1F1E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327151" y="2841626"/>
            <a:ext cx="9540875" cy="1082675"/>
            <a:chOff x="836" y="1790"/>
            <a:chExt cx="6010" cy="682"/>
          </a:xfrm>
        </p:grpSpPr>
        <p:sp>
          <p:nvSpPr>
            <p:cNvPr id="23" name="Oval 5">
              <a:extLst>
                <a:ext uri="{FF2B5EF4-FFF2-40B4-BE49-F238E27FC236}">
                  <a16:creationId xmlns:a16="http://schemas.microsoft.com/office/drawing/2014/main" id="{B383918F-ECF9-42D2-9619-65A06E4A091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166" y="1790"/>
              <a:ext cx="680" cy="68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F904313C-3A71-4615-942D-446BF3F83F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82" y="1802"/>
              <a:ext cx="658" cy="659"/>
            </a:xfrm>
            <a:custGeom>
              <a:avLst/>
              <a:gdLst>
                <a:gd name="T0" fmla="*/ 417 w 658"/>
                <a:gd name="T1" fmla="*/ 0 h 659"/>
                <a:gd name="T2" fmla="*/ 241 w 658"/>
                <a:gd name="T3" fmla="*/ 0 h 659"/>
                <a:gd name="T4" fmla="*/ 241 w 658"/>
                <a:gd name="T5" fmla="*/ 241 h 659"/>
                <a:gd name="T6" fmla="*/ 0 w 658"/>
                <a:gd name="T7" fmla="*/ 241 h 659"/>
                <a:gd name="T8" fmla="*/ 0 w 658"/>
                <a:gd name="T9" fmla="*/ 418 h 659"/>
                <a:gd name="T10" fmla="*/ 241 w 658"/>
                <a:gd name="T11" fmla="*/ 418 h 659"/>
                <a:gd name="T12" fmla="*/ 241 w 658"/>
                <a:gd name="T13" fmla="*/ 659 h 659"/>
                <a:gd name="T14" fmla="*/ 417 w 658"/>
                <a:gd name="T15" fmla="*/ 659 h 659"/>
                <a:gd name="T16" fmla="*/ 417 w 658"/>
                <a:gd name="T17" fmla="*/ 418 h 659"/>
                <a:gd name="T18" fmla="*/ 658 w 658"/>
                <a:gd name="T19" fmla="*/ 418 h 659"/>
                <a:gd name="T20" fmla="*/ 658 w 658"/>
                <a:gd name="T21" fmla="*/ 241 h 659"/>
                <a:gd name="T22" fmla="*/ 417 w 658"/>
                <a:gd name="T23" fmla="*/ 241 h 659"/>
                <a:gd name="T24" fmla="*/ 417 w 658"/>
                <a:gd name="T25" fmla="*/ 0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8" h="659">
                  <a:moveTo>
                    <a:pt x="417" y="0"/>
                  </a:moveTo>
                  <a:lnTo>
                    <a:pt x="241" y="0"/>
                  </a:lnTo>
                  <a:lnTo>
                    <a:pt x="241" y="241"/>
                  </a:lnTo>
                  <a:lnTo>
                    <a:pt x="0" y="241"/>
                  </a:lnTo>
                  <a:lnTo>
                    <a:pt x="0" y="418"/>
                  </a:lnTo>
                  <a:lnTo>
                    <a:pt x="241" y="418"/>
                  </a:lnTo>
                  <a:lnTo>
                    <a:pt x="241" y="659"/>
                  </a:lnTo>
                  <a:lnTo>
                    <a:pt x="417" y="659"/>
                  </a:lnTo>
                  <a:lnTo>
                    <a:pt x="417" y="418"/>
                  </a:lnTo>
                  <a:lnTo>
                    <a:pt x="658" y="418"/>
                  </a:lnTo>
                  <a:lnTo>
                    <a:pt x="658" y="241"/>
                  </a:lnTo>
                  <a:lnTo>
                    <a:pt x="417" y="241"/>
                  </a:lnTo>
                  <a:lnTo>
                    <a:pt x="4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10B1E4BF-B011-47AF-B12F-0ED252E942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6" y="1790"/>
              <a:ext cx="820" cy="682"/>
            </a:xfrm>
            <a:custGeom>
              <a:avLst/>
              <a:gdLst>
                <a:gd name="T0" fmla="*/ 903 w 1231"/>
                <a:gd name="T1" fmla="*/ 0 h 1021"/>
                <a:gd name="T2" fmla="*/ 615 w 1231"/>
                <a:gd name="T3" fmla="*/ 188 h 1021"/>
                <a:gd name="T4" fmla="*/ 328 w 1231"/>
                <a:gd name="T5" fmla="*/ 0 h 1021"/>
                <a:gd name="T6" fmla="*/ 0 w 1231"/>
                <a:gd name="T7" fmla="*/ 323 h 1021"/>
                <a:gd name="T8" fmla="*/ 615 w 1231"/>
                <a:gd name="T9" fmla="*/ 1021 h 1021"/>
                <a:gd name="T10" fmla="*/ 1231 w 1231"/>
                <a:gd name="T11" fmla="*/ 323 h 1021"/>
                <a:gd name="T12" fmla="*/ 903 w 1231"/>
                <a:gd name="T13" fmla="*/ 0 h 10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1" h="1021">
                  <a:moveTo>
                    <a:pt x="903" y="0"/>
                  </a:moveTo>
                  <a:cubicBezTo>
                    <a:pt x="695" y="0"/>
                    <a:pt x="615" y="188"/>
                    <a:pt x="615" y="188"/>
                  </a:cubicBezTo>
                  <a:cubicBezTo>
                    <a:pt x="615" y="188"/>
                    <a:pt x="536" y="0"/>
                    <a:pt x="328" y="0"/>
                  </a:cubicBezTo>
                  <a:cubicBezTo>
                    <a:pt x="95" y="0"/>
                    <a:pt x="0" y="204"/>
                    <a:pt x="0" y="323"/>
                  </a:cubicBezTo>
                  <a:cubicBezTo>
                    <a:pt x="0" y="565"/>
                    <a:pt x="284" y="866"/>
                    <a:pt x="615" y="1021"/>
                  </a:cubicBezTo>
                  <a:cubicBezTo>
                    <a:pt x="947" y="866"/>
                    <a:pt x="1231" y="565"/>
                    <a:pt x="1231" y="323"/>
                  </a:cubicBezTo>
                  <a:cubicBezTo>
                    <a:pt x="1231" y="204"/>
                    <a:pt x="1136" y="0"/>
                    <a:pt x="90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</p:spTree>
    <p:extLst>
      <p:ext uri="{BB962C8B-B14F-4D97-AF65-F5344CB8AC3E}">
        <p14:creationId xmlns:p14="http://schemas.microsoft.com/office/powerpoint/2010/main" val="25687616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13C8E1C6-7A21-4AD7-9D89-1995FCC830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6" name="Pladsholder til dato 5" hidden="1">
            <a:extLst>
              <a:ext uri="{FF2B5EF4-FFF2-40B4-BE49-F238E27FC236}">
                <a16:creationId xmlns:a16="http://schemas.microsoft.com/office/drawing/2014/main" id="{09AFB10B-7C58-4EDD-8858-7CC80F1080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sidefod 6" hidden="1">
            <a:extLst>
              <a:ext uri="{FF2B5EF4-FFF2-40B4-BE49-F238E27FC236}">
                <a16:creationId xmlns:a16="http://schemas.microsoft.com/office/drawing/2014/main" id="{60764CCA-4AD0-4C57-B4E2-79081A01D9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49132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0CAC9A41-10B9-4C2B-A87F-4B5B339337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Pladsholder til dato 4" hidden="1">
            <a:extLst>
              <a:ext uri="{FF2B5EF4-FFF2-40B4-BE49-F238E27FC236}">
                <a16:creationId xmlns:a16="http://schemas.microsoft.com/office/drawing/2014/main" id="{79DEA958-ECFE-47F6-B949-341CF372B1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 hidden="1">
            <a:extLst>
              <a:ext uri="{FF2B5EF4-FFF2-40B4-BE49-F238E27FC236}">
                <a16:creationId xmlns:a16="http://schemas.microsoft.com/office/drawing/2014/main" id="{29046101-727D-4D00-84E4-A54DB3C6FF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157613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ast overskrift"/>
          <p:cNvSpPr txBox="1"/>
          <p:nvPr userDrawn="1"/>
        </p:nvSpPr>
        <p:spPr>
          <a:xfrm>
            <a:off x="539748" y="539750"/>
            <a:ext cx="11109325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erguide - Slet før anvendelse</a:t>
            </a:r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539752" y="1815926"/>
            <a:ext cx="2280360" cy="3493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900" b="1" noProof="1"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sz="900" b="1" baseline="0" noProof="1">
                <a:latin typeface="Arial" panose="020B0604020202020204" pitchFamily="34" charset="0"/>
                <a:cs typeface="Arial" panose="020B0604020202020204" pitchFamily="34" charset="0"/>
              </a:rPr>
              <a:t> tekst typografier</a:t>
            </a:r>
            <a:endParaRPr lang="da-DK" sz="900" b="1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ereft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skifte fra et niveau til et næst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kan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øg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indsk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eniveau bruges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 nyt sli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em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menupunktet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Slide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indsætte et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slid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Ændre slide layouts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pilen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ed siden af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få vist en dropdown menu af 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ige slides layout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dit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værende layout til et alternativt</a:t>
            </a:r>
          </a:p>
        </p:txBody>
      </p:sp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4498494" y="1815926"/>
            <a:ext cx="2196000" cy="377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s med billedpladshold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ikon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ets fokus/størrels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Ønsker du at skalere billedet, så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nede, mens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trækker i billedets hjørn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is du sletter billedet og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ter et nyt, kan billedet lægg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 foran tekst og grafik. Hvis dette sker, højreklik på billed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r bagest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nulstille placering, størrelse og formatering af pladsholdere til layoutets oprindelige design</a:t>
            </a:r>
            <a:endParaRPr 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7925239" y="1815926"/>
            <a:ext cx="2358243" cy="3508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justere sidenummerering, </a:t>
            </a:r>
            <a:b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o og sidefo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ør dette som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t sidste i din præsentation, så det slår igennem på alle slides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hoved og Sidefod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dtast evt. tekst i sidefod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 på alle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vis det kun skal være på et enkelt slid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se 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sæt hak ve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Alt + F9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hurtig visning af hjælpelinjer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8" name="1 Forøg formindsk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00549" y="2900575"/>
            <a:ext cx="549328" cy="285228"/>
          </a:xfrm>
          <a:prstGeom prst="rect">
            <a:avLst/>
          </a:prstGeom>
        </p:spPr>
      </p:pic>
      <p:pic>
        <p:nvPicPr>
          <p:cNvPr id="20" name="2 Ny slide"/>
          <p:cNvPicPr>
            <a:picLocks noChangeAspect="1"/>
          </p:cNvPicPr>
          <p:nvPr userDrawn="1"/>
        </p:nvPicPr>
        <p:blipFill rotWithShape="1">
          <a:blip r:embed="rId3"/>
          <a:srcRect l="2931" r="60888"/>
          <a:stretch/>
        </p:blipFill>
        <p:spPr>
          <a:xfrm>
            <a:off x="2714468" y="3629774"/>
            <a:ext cx="363713" cy="647461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3"/>
          <a:srcRect l="36944" r="2272" b="69429"/>
          <a:stretch/>
        </p:blipFill>
        <p:spPr>
          <a:xfrm>
            <a:off x="2729933" y="4483855"/>
            <a:ext cx="593368" cy="192211"/>
          </a:xfrm>
          <a:prstGeom prst="rect">
            <a:avLst/>
          </a:prstGeom>
        </p:spPr>
      </p:pic>
      <p:pic>
        <p:nvPicPr>
          <p:cNvPr id="24" name="4 Nulstil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601121" y="5102569"/>
            <a:ext cx="547241" cy="197798"/>
          </a:xfrm>
          <a:prstGeom prst="rect">
            <a:avLst/>
          </a:prstGeom>
        </p:spPr>
      </p:pic>
      <p:pic>
        <p:nvPicPr>
          <p:cNvPr id="5" name="5 Indsæt billede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601121" y="2075087"/>
            <a:ext cx="262151" cy="256054"/>
          </a:xfrm>
          <a:prstGeom prst="rect">
            <a:avLst/>
          </a:prstGeom>
        </p:spPr>
      </p:pic>
      <p:pic>
        <p:nvPicPr>
          <p:cNvPr id="23" name="6 Beskær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601121" y="2748409"/>
            <a:ext cx="337400" cy="321707"/>
          </a:xfrm>
          <a:prstGeom prst="rect">
            <a:avLst/>
          </a:prstGeom>
        </p:spPr>
      </p:pic>
      <p:pic>
        <p:nvPicPr>
          <p:cNvPr id="2" name="7 Skalér billede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601121" y="3242399"/>
            <a:ext cx="359695" cy="33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2528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lys blå S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>
            <a:extLst>
              <a:ext uri="{FF2B5EF4-FFF2-40B4-BE49-F238E27FC236}">
                <a16:creationId xmlns:a16="http://schemas.microsoft.com/office/drawing/2014/main" id="{7014AFF4-321B-47D7-A0CD-0CFE22C65E31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BE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1122362"/>
            <a:ext cx="6940800" cy="3621600"/>
          </a:xfrm>
        </p:spPr>
        <p:txBody>
          <a:bodyPr anchor="b"/>
          <a:lstStyle>
            <a:lvl1pPr algn="l">
              <a:defRPr sz="5000" b="1">
                <a:solidFill>
                  <a:srgbClr val="005C8D"/>
                </a:solidFill>
              </a:defRPr>
            </a:lvl1pPr>
          </a:lstStyle>
          <a:p>
            <a:r>
              <a:rPr lang="da-DK" dirty="0"/>
              <a:t>Overskrift skrives her i flere linjer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>
          <a:xfrm>
            <a:off x="431999" y="5883332"/>
            <a:ext cx="4021200" cy="180000"/>
          </a:xfrm>
        </p:spPr>
        <p:txBody>
          <a:bodyPr/>
          <a:lstStyle>
            <a:lvl1pPr>
              <a:defRPr lang="en-GB" sz="1500" dirty="0">
                <a:solidFill>
                  <a:srgbClr val="005C8D"/>
                </a:solidFill>
              </a:defRPr>
            </a:lvl1pPr>
          </a:lstStyle>
          <a:p>
            <a:fld id="{F2CF9434-4206-4AC2-A91A-1DCD05F48644}" type="datetime2">
              <a:rPr lang="da-DK" smtClean="0"/>
              <a:pPr/>
              <a:t>4. april 2024</a:t>
            </a:fld>
            <a:endParaRPr lang="da-DK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40752A6-1750-4291-B91A-BCBA280283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6090239"/>
            <a:ext cx="4021200" cy="25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>
                <a:solidFill>
                  <a:srgbClr val="005C8D"/>
                </a:solidFill>
              </a:defRPr>
            </a:lvl1pPr>
            <a:lvl2pPr marL="216000" indent="0">
              <a:buNone/>
              <a:defRPr/>
            </a:lvl2pPr>
          </a:lstStyle>
          <a:p>
            <a:pPr lvl="0"/>
            <a:r>
              <a:rPr lang="da-DK" dirty="0"/>
              <a:t>Indsæt navn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757160F-1609-4C06-9280-500899BD0D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6343649"/>
            <a:ext cx="4021200" cy="25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>
                <a:solidFill>
                  <a:srgbClr val="005C8D"/>
                </a:solidFill>
              </a:defRPr>
            </a:lvl1pPr>
            <a:lvl2pPr marL="216000" indent="0">
              <a:buNone/>
              <a:defRPr/>
            </a:lvl2pPr>
          </a:lstStyle>
          <a:p>
            <a:pPr lvl="0"/>
            <a:r>
              <a:rPr lang="da-DK" dirty="0"/>
              <a:t>Indsæt titel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097836F4-DF01-4985-A4C0-2A0AF3CD00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2" y="336145"/>
            <a:ext cx="1800656" cy="421958"/>
          </a:xfrm>
          <a:prstGeom prst="rect">
            <a:avLst/>
          </a:prstGeom>
        </p:spPr>
      </p:pic>
      <p:sp>
        <p:nvSpPr>
          <p:cNvPr id="13" name="Ikoner">
            <a:extLst>
              <a:ext uri="{FF2B5EF4-FFF2-40B4-BE49-F238E27FC236}">
                <a16:creationId xmlns:a16="http://schemas.microsoft.com/office/drawing/2014/main" id="{48019028-84F6-4504-BE31-23597E36DB3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32000" y="5032800"/>
            <a:ext cx="1346400" cy="338400"/>
          </a:xfrm>
          <a:custGeom>
            <a:avLst/>
            <a:gdLst>
              <a:gd name="T0" fmla="*/ 1157 w 1157"/>
              <a:gd name="T1" fmla="*/ 144 h 288"/>
              <a:gd name="T2" fmla="*/ 1013 w 1157"/>
              <a:gd name="T3" fmla="*/ 288 h 288"/>
              <a:gd name="T4" fmla="*/ 869 w 1157"/>
              <a:gd name="T5" fmla="*/ 144 h 288"/>
              <a:gd name="T6" fmla="*/ 1013 w 1157"/>
              <a:gd name="T7" fmla="*/ 0 h 288"/>
              <a:gd name="T8" fmla="*/ 1157 w 1157"/>
              <a:gd name="T9" fmla="*/ 144 h 288"/>
              <a:gd name="T10" fmla="*/ 643 w 1157"/>
              <a:gd name="T11" fmla="*/ 5 h 288"/>
              <a:gd name="T12" fmla="*/ 569 w 1157"/>
              <a:gd name="T13" fmla="*/ 5 h 288"/>
              <a:gd name="T14" fmla="*/ 569 w 1157"/>
              <a:gd name="T15" fmla="*/ 107 h 288"/>
              <a:gd name="T16" fmla="*/ 467 w 1157"/>
              <a:gd name="T17" fmla="*/ 107 h 288"/>
              <a:gd name="T18" fmla="*/ 467 w 1157"/>
              <a:gd name="T19" fmla="*/ 181 h 288"/>
              <a:gd name="T20" fmla="*/ 569 w 1157"/>
              <a:gd name="T21" fmla="*/ 181 h 288"/>
              <a:gd name="T22" fmla="*/ 569 w 1157"/>
              <a:gd name="T23" fmla="*/ 283 h 288"/>
              <a:gd name="T24" fmla="*/ 643 w 1157"/>
              <a:gd name="T25" fmla="*/ 283 h 288"/>
              <a:gd name="T26" fmla="*/ 643 w 1157"/>
              <a:gd name="T27" fmla="*/ 181 h 288"/>
              <a:gd name="T28" fmla="*/ 745 w 1157"/>
              <a:gd name="T29" fmla="*/ 181 h 288"/>
              <a:gd name="T30" fmla="*/ 745 w 1157"/>
              <a:gd name="T31" fmla="*/ 107 h 288"/>
              <a:gd name="T32" fmla="*/ 643 w 1157"/>
              <a:gd name="T33" fmla="*/ 107 h 288"/>
              <a:gd name="T34" fmla="*/ 643 w 1157"/>
              <a:gd name="T35" fmla="*/ 5 h 288"/>
              <a:gd name="T36" fmla="*/ 255 w 1157"/>
              <a:gd name="T37" fmla="*/ 0 h 288"/>
              <a:gd name="T38" fmla="*/ 174 w 1157"/>
              <a:gd name="T39" fmla="*/ 53 h 288"/>
              <a:gd name="T40" fmla="*/ 93 w 1157"/>
              <a:gd name="T41" fmla="*/ 0 h 288"/>
              <a:gd name="T42" fmla="*/ 0 w 1157"/>
              <a:gd name="T43" fmla="*/ 91 h 288"/>
              <a:gd name="T44" fmla="*/ 174 w 1157"/>
              <a:gd name="T45" fmla="*/ 288 h 288"/>
              <a:gd name="T46" fmla="*/ 347 w 1157"/>
              <a:gd name="T47" fmla="*/ 91 h 288"/>
              <a:gd name="T48" fmla="*/ 255 w 1157"/>
              <a:gd name="T49" fmla="*/ 0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157" h="288">
                <a:moveTo>
                  <a:pt x="1157" y="144"/>
                </a:moveTo>
                <a:cubicBezTo>
                  <a:pt x="1157" y="223"/>
                  <a:pt x="1092" y="288"/>
                  <a:pt x="1013" y="288"/>
                </a:cubicBezTo>
                <a:cubicBezTo>
                  <a:pt x="933" y="288"/>
                  <a:pt x="869" y="223"/>
                  <a:pt x="869" y="144"/>
                </a:cubicBezTo>
                <a:cubicBezTo>
                  <a:pt x="869" y="65"/>
                  <a:pt x="933" y="0"/>
                  <a:pt x="1013" y="0"/>
                </a:cubicBezTo>
                <a:cubicBezTo>
                  <a:pt x="1092" y="0"/>
                  <a:pt x="1157" y="65"/>
                  <a:pt x="1157" y="144"/>
                </a:cubicBezTo>
                <a:close/>
                <a:moveTo>
                  <a:pt x="643" y="5"/>
                </a:moveTo>
                <a:cubicBezTo>
                  <a:pt x="569" y="5"/>
                  <a:pt x="569" y="5"/>
                  <a:pt x="569" y="5"/>
                </a:cubicBezTo>
                <a:cubicBezTo>
                  <a:pt x="569" y="107"/>
                  <a:pt x="569" y="107"/>
                  <a:pt x="569" y="107"/>
                </a:cubicBezTo>
                <a:cubicBezTo>
                  <a:pt x="467" y="107"/>
                  <a:pt x="467" y="107"/>
                  <a:pt x="467" y="107"/>
                </a:cubicBezTo>
                <a:cubicBezTo>
                  <a:pt x="467" y="181"/>
                  <a:pt x="467" y="181"/>
                  <a:pt x="467" y="181"/>
                </a:cubicBezTo>
                <a:cubicBezTo>
                  <a:pt x="569" y="181"/>
                  <a:pt x="569" y="181"/>
                  <a:pt x="569" y="181"/>
                </a:cubicBezTo>
                <a:cubicBezTo>
                  <a:pt x="569" y="283"/>
                  <a:pt x="569" y="283"/>
                  <a:pt x="569" y="283"/>
                </a:cubicBezTo>
                <a:cubicBezTo>
                  <a:pt x="643" y="283"/>
                  <a:pt x="643" y="283"/>
                  <a:pt x="643" y="283"/>
                </a:cubicBezTo>
                <a:cubicBezTo>
                  <a:pt x="643" y="181"/>
                  <a:pt x="643" y="181"/>
                  <a:pt x="643" y="181"/>
                </a:cubicBezTo>
                <a:cubicBezTo>
                  <a:pt x="745" y="181"/>
                  <a:pt x="745" y="181"/>
                  <a:pt x="745" y="181"/>
                </a:cubicBezTo>
                <a:cubicBezTo>
                  <a:pt x="745" y="107"/>
                  <a:pt x="745" y="107"/>
                  <a:pt x="745" y="107"/>
                </a:cubicBezTo>
                <a:cubicBezTo>
                  <a:pt x="643" y="107"/>
                  <a:pt x="643" y="107"/>
                  <a:pt x="643" y="107"/>
                </a:cubicBezTo>
                <a:lnTo>
                  <a:pt x="643" y="5"/>
                </a:lnTo>
                <a:close/>
                <a:moveTo>
                  <a:pt x="255" y="0"/>
                </a:moveTo>
                <a:cubicBezTo>
                  <a:pt x="196" y="0"/>
                  <a:pt x="174" y="53"/>
                  <a:pt x="174" y="53"/>
                </a:cubicBezTo>
                <a:cubicBezTo>
                  <a:pt x="174" y="53"/>
                  <a:pt x="151" y="0"/>
                  <a:pt x="93" y="0"/>
                </a:cubicBezTo>
                <a:cubicBezTo>
                  <a:pt x="27" y="0"/>
                  <a:pt x="0" y="57"/>
                  <a:pt x="0" y="91"/>
                </a:cubicBezTo>
                <a:cubicBezTo>
                  <a:pt x="0" y="159"/>
                  <a:pt x="80" y="244"/>
                  <a:pt x="174" y="288"/>
                </a:cubicBezTo>
                <a:cubicBezTo>
                  <a:pt x="267" y="244"/>
                  <a:pt x="347" y="159"/>
                  <a:pt x="347" y="91"/>
                </a:cubicBezTo>
                <a:cubicBezTo>
                  <a:pt x="347" y="57"/>
                  <a:pt x="320" y="0"/>
                  <a:pt x="255" y="0"/>
                </a:cubicBezTo>
                <a:close/>
              </a:path>
            </a:pathLst>
          </a:custGeom>
          <a:solidFill>
            <a:srgbClr val="005C8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66556974"/>
      </p:ext>
    </p:extLst>
  </p:cSld>
  <p:clrMapOvr>
    <a:masterClrMapping/>
  </p:clrMapOvr>
  <p:hf sldNum="0" hdr="0" ft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lys blå S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>
            <a:extLst>
              <a:ext uri="{FF2B5EF4-FFF2-40B4-BE49-F238E27FC236}">
                <a16:creationId xmlns:a16="http://schemas.microsoft.com/office/drawing/2014/main" id="{7014AFF4-321B-47D7-A0CD-0CFE22C65E31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BE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1122362"/>
            <a:ext cx="6940800" cy="3621600"/>
          </a:xfrm>
        </p:spPr>
        <p:txBody>
          <a:bodyPr anchor="b"/>
          <a:lstStyle>
            <a:lvl1pPr algn="l">
              <a:defRPr sz="5000" b="1">
                <a:solidFill>
                  <a:srgbClr val="003356"/>
                </a:solidFill>
              </a:defRPr>
            </a:lvl1pPr>
          </a:lstStyle>
          <a:p>
            <a:r>
              <a:rPr lang="da-DK" dirty="0"/>
              <a:t>Overskrift skrives her i flere linjer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>
          <a:xfrm>
            <a:off x="431999" y="5883332"/>
            <a:ext cx="4021200" cy="180000"/>
          </a:xfrm>
        </p:spPr>
        <p:txBody>
          <a:bodyPr/>
          <a:lstStyle>
            <a:lvl1pPr>
              <a:defRPr lang="en-GB" sz="1500" dirty="0">
                <a:solidFill>
                  <a:srgbClr val="001F34"/>
                </a:solidFill>
              </a:defRPr>
            </a:lvl1pPr>
          </a:lstStyle>
          <a:p>
            <a:fld id="{F2CF9434-4206-4AC2-A91A-1DCD05F48644}" type="datetime2">
              <a:rPr lang="da-DK" smtClean="0"/>
              <a:pPr/>
              <a:t>4. april 2024</a:t>
            </a:fld>
            <a:endParaRPr lang="da-DK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40752A6-1750-4291-B91A-BCBA280283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6090239"/>
            <a:ext cx="4021200" cy="25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>
                <a:solidFill>
                  <a:srgbClr val="001F34"/>
                </a:solidFill>
              </a:defRPr>
            </a:lvl1pPr>
            <a:lvl2pPr marL="216000" indent="0">
              <a:buNone/>
              <a:defRPr/>
            </a:lvl2pPr>
          </a:lstStyle>
          <a:p>
            <a:pPr lvl="0"/>
            <a:r>
              <a:rPr lang="da-DK" dirty="0"/>
              <a:t>Indsæt navn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757160F-1609-4C06-9280-500899BD0D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6343649"/>
            <a:ext cx="4021200" cy="25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>
                <a:solidFill>
                  <a:srgbClr val="001F34"/>
                </a:solidFill>
              </a:defRPr>
            </a:lvl1pPr>
            <a:lvl2pPr marL="216000" indent="0">
              <a:buNone/>
              <a:defRPr/>
            </a:lvl2pPr>
          </a:lstStyle>
          <a:p>
            <a:pPr lvl="0"/>
            <a:r>
              <a:rPr lang="da-DK" dirty="0"/>
              <a:t>Indsæt titel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097836F4-DF01-4985-A4C0-2A0AF3CD00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4" y="336145"/>
            <a:ext cx="1800651" cy="421957"/>
          </a:xfrm>
          <a:prstGeom prst="rect">
            <a:avLst/>
          </a:prstGeom>
        </p:spPr>
      </p:pic>
      <p:sp>
        <p:nvSpPr>
          <p:cNvPr id="13" name="Ikoner">
            <a:extLst>
              <a:ext uri="{FF2B5EF4-FFF2-40B4-BE49-F238E27FC236}">
                <a16:creationId xmlns:a16="http://schemas.microsoft.com/office/drawing/2014/main" id="{48019028-84F6-4504-BE31-23597E36DB3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32000" y="5032800"/>
            <a:ext cx="1346400" cy="338400"/>
          </a:xfrm>
          <a:custGeom>
            <a:avLst/>
            <a:gdLst>
              <a:gd name="T0" fmla="*/ 1157 w 1157"/>
              <a:gd name="T1" fmla="*/ 144 h 288"/>
              <a:gd name="T2" fmla="*/ 1013 w 1157"/>
              <a:gd name="T3" fmla="*/ 288 h 288"/>
              <a:gd name="T4" fmla="*/ 869 w 1157"/>
              <a:gd name="T5" fmla="*/ 144 h 288"/>
              <a:gd name="T6" fmla="*/ 1013 w 1157"/>
              <a:gd name="T7" fmla="*/ 0 h 288"/>
              <a:gd name="T8" fmla="*/ 1157 w 1157"/>
              <a:gd name="T9" fmla="*/ 144 h 288"/>
              <a:gd name="T10" fmla="*/ 643 w 1157"/>
              <a:gd name="T11" fmla="*/ 5 h 288"/>
              <a:gd name="T12" fmla="*/ 569 w 1157"/>
              <a:gd name="T13" fmla="*/ 5 h 288"/>
              <a:gd name="T14" fmla="*/ 569 w 1157"/>
              <a:gd name="T15" fmla="*/ 107 h 288"/>
              <a:gd name="T16" fmla="*/ 467 w 1157"/>
              <a:gd name="T17" fmla="*/ 107 h 288"/>
              <a:gd name="T18" fmla="*/ 467 w 1157"/>
              <a:gd name="T19" fmla="*/ 181 h 288"/>
              <a:gd name="T20" fmla="*/ 569 w 1157"/>
              <a:gd name="T21" fmla="*/ 181 h 288"/>
              <a:gd name="T22" fmla="*/ 569 w 1157"/>
              <a:gd name="T23" fmla="*/ 283 h 288"/>
              <a:gd name="T24" fmla="*/ 643 w 1157"/>
              <a:gd name="T25" fmla="*/ 283 h 288"/>
              <a:gd name="T26" fmla="*/ 643 w 1157"/>
              <a:gd name="T27" fmla="*/ 181 h 288"/>
              <a:gd name="T28" fmla="*/ 745 w 1157"/>
              <a:gd name="T29" fmla="*/ 181 h 288"/>
              <a:gd name="T30" fmla="*/ 745 w 1157"/>
              <a:gd name="T31" fmla="*/ 107 h 288"/>
              <a:gd name="T32" fmla="*/ 643 w 1157"/>
              <a:gd name="T33" fmla="*/ 107 h 288"/>
              <a:gd name="T34" fmla="*/ 643 w 1157"/>
              <a:gd name="T35" fmla="*/ 5 h 288"/>
              <a:gd name="T36" fmla="*/ 255 w 1157"/>
              <a:gd name="T37" fmla="*/ 0 h 288"/>
              <a:gd name="T38" fmla="*/ 174 w 1157"/>
              <a:gd name="T39" fmla="*/ 53 h 288"/>
              <a:gd name="T40" fmla="*/ 93 w 1157"/>
              <a:gd name="T41" fmla="*/ 0 h 288"/>
              <a:gd name="T42" fmla="*/ 0 w 1157"/>
              <a:gd name="T43" fmla="*/ 91 h 288"/>
              <a:gd name="T44" fmla="*/ 174 w 1157"/>
              <a:gd name="T45" fmla="*/ 288 h 288"/>
              <a:gd name="T46" fmla="*/ 347 w 1157"/>
              <a:gd name="T47" fmla="*/ 91 h 288"/>
              <a:gd name="T48" fmla="*/ 255 w 1157"/>
              <a:gd name="T49" fmla="*/ 0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157" h="288">
                <a:moveTo>
                  <a:pt x="1157" y="144"/>
                </a:moveTo>
                <a:cubicBezTo>
                  <a:pt x="1157" y="223"/>
                  <a:pt x="1092" y="288"/>
                  <a:pt x="1013" y="288"/>
                </a:cubicBezTo>
                <a:cubicBezTo>
                  <a:pt x="933" y="288"/>
                  <a:pt x="869" y="223"/>
                  <a:pt x="869" y="144"/>
                </a:cubicBezTo>
                <a:cubicBezTo>
                  <a:pt x="869" y="65"/>
                  <a:pt x="933" y="0"/>
                  <a:pt x="1013" y="0"/>
                </a:cubicBezTo>
                <a:cubicBezTo>
                  <a:pt x="1092" y="0"/>
                  <a:pt x="1157" y="65"/>
                  <a:pt x="1157" y="144"/>
                </a:cubicBezTo>
                <a:close/>
                <a:moveTo>
                  <a:pt x="643" y="5"/>
                </a:moveTo>
                <a:cubicBezTo>
                  <a:pt x="569" y="5"/>
                  <a:pt x="569" y="5"/>
                  <a:pt x="569" y="5"/>
                </a:cubicBezTo>
                <a:cubicBezTo>
                  <a:pt x="569" y="107"/>
                  <a:pt x="569" y="107"/>
                  <a:pt x="569" y="107"/>
                </a:cubicBezTo>
                <a:cubicBezTo>
                  <a:pt x="467" y="107"/>
                  <a:pt x="467" y="107"/>
                  <a:pt x="467" y="107"/>
                </a:cubicBezTo>
                <a:cubicBezTo>
                  <a:pt x="467" y="181"/>
                  <a:pt x="467" y="181"/>
                  <a:pt x="467" y="181"/>
                </a:cubicBezTo>
                <a:cubicBezTo>
                  <a:pt x="569" y="181"/>
                  <a:pt x="569" y="181"/>
                  <a:pt x="569" y="181"/>
                </a:cubicBezTo>
                <a:cubicBezTo>
                  <a:pt x="569" y="283"/>
                  <a:pt x="569" y="283"/>
                  <a:pt x="569" y="283"/>
                </a:cubicBezTo>
                <a:cubicBezTo>
                  <a:pt x="643" y="283"/>
                  <a:pt x="643" y="283"/>
                  <a:pt x="643" y="283"/>
                </a:cubicBezTo>
                <a:cubicBezTo>
                  <a:pt x="643" y="181"/>
                  <a:pt x="643" y="181"/>
                  <a:pt x="643" y="181"/>
                </a:cubicBezTo>
                <a:cubicBezTo>
                  <a:pt x="745" y="181"/>
                  <a:pt x="745" y="181"/>
                  <a:pt x="745" y="181"/>
                </a:cubicBezTo>
                <a:cubicBezTo>
                  <a:pt x="745" y="107"/>
                  <a:pt x="745" y="107"/>
                  <a:pt x="745" y="107"/>
                </a:cubicBezTo>
                <a:cubicBezTo>
                  <a:pt x="643" y="107"/>
                  <a:pt x="643" y="107"/>
                  <a:pt x="643" y="107"/>
                </a:cubicBezTo>
                <a:lnTo>
                  <a:pt x="643" y="5"/>
                </a:lnTo>
                <a:close/>
                <a:moveTo>
                  <a:pt x="255" y="0"/>
                </a:moveTo>
                <a:cubicBezTo>
                  <a:pt x="196" y="0"/>
                  <a:pt x="174" y="53"/>
                  <a:pt x="174" y="53"/>
                </a:cubicBezTo>
                <a:cubicBezTo>
                  <a:pt x="174" y="53"/>
                  <a:pt x="151" y="0"/>
                  <a:pt x="93" y="0"/>
                </a:cubicBezTo>
                <a:cubicBezTo>
                  <a:pt x="27" y="0"/>
                  <a:pt x="0" y="57"/>
                  <a:pt x="0" y="91"/>
                </a:cubicBezTo>
                <a:cubicBezTo>
                  <a:pt x="0" y="159"/>
                  <a:pt x="80" y="244"/>
                  <a:pt x="174" y="288"/>
                </a:cubicBezTo>
                <a:cubicBezTo>
                  <a:pt x="267" y="244"/>
                  <a:pt x="347" y="159"/>
                  <a:pt x="347" y="91"/>
                </a:cubicBezTo>
                <a:cubicBezTo>
                  <a:pt x="347" y="57"/>
                  <a:pt x="320" y="0"/>
                  <a:pt x="255" y="0"/>
                </a:cubicBezTo>
                <a:close/>
              </a:path>
            </a:pathLst>
          </a:custGeom>
          <a:solidFill>
            <a:srgbClr val="0033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60349675"/>
      </p:ext>
    </p:extLst>
  </p:cSld>
  <p:clrMapOvr>
    <a:masterClrMapping/>
  </p:clrMapOvr>
  <p:hf sldNum="0" hdr="0" ft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til billede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65C210E0-2A1B-4FEA-B1A5-112CF86685C9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0" y="-1"/>
            <a:ext cx="12189600" cy="6858000"/>
          </a:xfrm>
          <a:prstGeom prst="rect">
            <a:avLst/>
          </a:prstGeom>
          <a:solidFill>
            <a:srgbClr val="003F36"/>
          </a:solidFill>
        </p:spPr>
        <p:txBody>
          <a:bodyPr lIns="0" tIns="72000" rIns="144000" bIns="0" anchor="t" anchorCtr="0"/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Klik her på rammen for at tilføje et billed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1122362"/>
            <a:ext cx="6940800" cy="3621600"/>
          </a:xfrm>
        </p:spPr>
        <p:txBody>
          <a:bodyPr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skrives her i flere linjer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>
          <a:xfrm>
            <a:off x="431999" y="5883332"/>
            <a:ext cx="4021200" cy="180000"/>
          </a:xfrm>
        </p:spPr>
        <p:txBody>
          <a:bodyPr/>
          <a:lstStyle>
            <a:lvl1pPr>
              <a:defRPr lang="en-GB" sz="1500" dirty="0">
                <a:solidFill>
                  <a:schemeClr val="bg1"/>
                </a:solidFill>
              </a:defRPr>
            </a:lvl1pPr>
          </a:lstStyle>
          <a:p>
            <a:fld id="{F2CF9434-4206-4AC2-A91A-1DCD05F48644}" type="datetime2">
              <a:rPr lang="da-DK" smtClean="0"/>
              <a:t>4. april 2024</a:t>
            </a:fld>
            <a:endParaRPr lang="da-DK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40752A6-1750-4291-B91A-BCBA280283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6090239"/>
            <a:ext cx="4021200" cy="25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216000" indent="0">
              <a:buNone/>
              <a:defRPr/>
            </a:lvl2pPr>
          </a:lstStyle>
          <a:p>
            <a:pPr lvl="0"/>
            <a:r>
              <a:rPr lang="da-DK" dirty="0"/>
              <a:t>Indsæt navn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757160F-1609-4C06-9280-500899BD0D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6343649"/>
            <a:ext cx="4021200" cy="25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216000" indent="0">
              <a:buNone/>
              <a:defRPr/>
            </a:lvl2pPr>
          </a:lstStyle>
          <a:p>
            <a:pPr lvl="0"/>
            <a:r>
              <a:rPr lang="da-DK" dirty="0"/>
              <a:t>Indsæt titel</a:t>
            </a:r>
          </a:p>
        </p:txBody>
      </p:sp>
      <p:sp>
        <p:nvSpPr>
          <p:cNvPr id="8" name="Text Placeholder logo">
            <a:extLst>
              <a:ext uri="{FF2B5EF4-FFF2-40B4-BE49-F238E27FC236}">
                <a16:creationId xmlns:a16="http://schemas.microsoft.com/office/drawing/2014/main" id="{6664B17C-7DE5-4D69-8DBB-1FB022E711F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1" y="336903"/>
            <a:ext cx="1800000" cy="421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a-DK"/>
              <a:t>.v</a:t>
            </a:r>
            <a:endParaRPr lang="da-DK" dirty="0"/>
          </a:p>
        </p:txBody>
      </p:sp>
      <p:sp>
        <p:nvSpPr>
          <p:cNvPr id="14" name="Text Placeholder ikon">
            <a:extLst>
              <a:ext uri="{FF2B5EF4-FFF2-40B4-BE49-F238E27FC236}">
                <a16:creationId xmlns:a16="http://schemas.microsoft.com/office/drawing/2014/main" id="{C628F5DF-BECE-4D2A-A136-B615D7C93D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2000" y="5032800"/>
            <a:ext cx="1346400" cy="3384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a-DK"/>
              <a:t>.v</a:t>
            </a:r>
            <a:endParaRPr lang="da-DK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82570405"/>
      </p:ext>
    </p:extLst>
  </p:cSld>
  <p:clrMapOvr>
    <a:masterClrMapping/>
  </p:clrMapOvr>
  <p:hf sldNum="0" hdr="0" ft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til billede - Bourdeau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65C210E0-2A1B-4FEA-B1A5-112CF86685C9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0" y="-1"/>
            <a:ext cx="12189600" cy="6858000"/>
          </a:xfrm>
          <a:prstGeom prst="rect">
            <a:avLst/>
          </a:prstGeom>
          <a:solidFill>
            <a:srgbClr val="441B3C"/>
          </a:solidFill>
        </p:spPr>
        <p:txBody>
          <a:bodyPr lIns="0" tIns="72000" rIns="144000" bIns="0" anchor="t" anchorCtr="0"/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Klik her på rammen for at tilføje et billed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1122362"/>
            <a:ext cx="6940800" cy="3621600"/>
          </a:xfrm>
        </p:spPr>
        <p:txBody>
          <a:bodyPr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skrives her i flere linjer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>
          <a:xfrm>
            <a:off x="431999" y="5883332"/>
            <a:ext cx="4021200" cy="180000"/>
          </a:xfrm>
        </p:spPr>
        <p:txBody>
          <a:bodyPr/>
          <a:lstStyle>
            <a:lvl1pPr>
              <a:defRPr lang="en-GB" sz="1500" dirty="0">
                <a:solidFill>
                  <a:schemeClr val="bg1"/>
                </a:solidFill>
              </a:defRPr>
            </a:lvl1pPr>
          </a:lstStyle>
          <a:p>
            <a:fld id="{F2CF9434-4206-4AC2-A91A-1DCD05F48644}" type="datetime2">
              <a:rPr lang="da-DK" smtClean="0"/>
              <a:t>4. april 2024</a:t>
            </a:fld>
            <a:endParaRPr lang="da-DK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40752A6-1750-4291-B91A-BCBA280283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6090239"/>
            <a:ext cx="4021200" cy="25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216000" indent="0">
              <a:buNone/>
              <a:defRPr/>
            </a:lvl2pPr>
          </a:lstStyle>
          <a:p>
            <a:pPr lvl="0"/>
            <a:r>
              <a:rPr lang="da-DK" dirty="0"/>
              <a:t>Indsæt navn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757160F-1609-4C06-9280-500899BD0D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6343649"/>
            <a:ext cx="4021200" cy="25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216000" indent="0">
              <a:buNone/>
              <a:defRPr/>
            </a:lvl2pPr>
          </a:lstStyle>
          <a:p>
            <a:pPr lvl="0"/>
            <a:r>
              <a:rPr lang="da-DK" dirty="0"/>
              <a:t>Indsæt titel</a:t>
            </a:r>
          </a:p>
        </p:txBody>
      </p:sp>
      <p:sp>
        <p:nvSpPr>
          <p:cNvPr id="8" name="Text Placeholder logo">
            <a:extLst>
              <a:ext uri="{FF2B5EF4-FFF2-40B4-BE49-F238E27FC236}">
                <a16:creationId xmlns:a16="http://schemas.microsoft.com/office/drawing/2014/main" id="{6664B17C-7DE5-4D69-8DBB-1FB022E711F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1" y="336903"/>
            <a:ext cx="1800000" cy="421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a-DK"/>
              <a:t>.v</a:t>
            </a:r>
            <a:endParaRPr lang="da-DK" dirty="0"/>
          </a:p>
        </p:txBody>
      </p:sp>
      <p:sp>
        <p:nvSpPr>
          <p:cNvPr id="14" name="Text Placeholder ikon">
            <a:extLst>
              <a:ext uri="{FF2B5EF4-FFF2-40B4-BE49-F238E27FC236}">
                <a16:creationId xmlns:a16="http://schemas.microsoft.com/office/drawing/2014/main" id="{C628F5DF-BECE-4D2A-A136-B615D7C93D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2000" y="5032800"/>
            <a:ext cx="1346400" cy="3384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a-DK"/>
              <a:t>.v</a:t>
            </a:r>
            <a:endParaRPr lang="da-DK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96607910"/>
      </p:ext>
    </p:extLst>
  </p:cSld>
  <p:clrMapOvr>
    <a:masterClrMapping/>
  </p:clrMapOvr>
  <p:hf sldNum="0" hdr="0" ft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til billede - S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65C210E0-2A1B-4FEA-B1A5-112CF86685C9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0" y="-1"/>
            <a:ext cx="12189600" cy="6858000"/>
          </a:xfrm>
          <a:prstGeom prst="rect">
            <a:avLst/>
          </a:prstGeom>
          <a:solidFill>
            <a:srgbClr val="001F34"/>
          </a:solidFill>
        </p:spPr>
        <p:txBody>
          <a:bodyPr lIns="0" tIns="72000" rIns="144000" bIns="0" anchor="t" anchorCtr="0"/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Klik her på rammen for at tilføje et billed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1122362"/>
            <a:ext cx="6940800" cy="3621600"/>
          </a:xfrm>
        </p:spPr>
        <p:txBody>
          <a:bodyPr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skrives her i flere linjer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>
          <a:xfrm>
            <a:off x="431999" y="5883332"/>
            <a:ext cx="4021200" cy="180000"/>
          </a:xfrm>
        </p:spPr>
        <p:txBody>
          <a:bodyPr/>
          <a:lstStyle>
            <a:lvl1pPr>
              <a:defRPr lang="en-GB" sz="1500" dirty="0">
                <a:solidFill>
                  <a:schemeClr val="bg1"/>
                </a:solidFill>
              </a:defRPr>
            </a:lvl1pPr>
          </a:lstStyle>
          <a:p>
            <a:fld id="{F2CF9434-4206-4AC2-A91A-1DCD05F48644}" type="datetime2">
              <a:rPr lang="da-DK" smtClean="0"/>
              <a:t>4. april 2024</a:t>
            </a:fld>
            <a:endParaRPr lang="da-DK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40752A6-1750-4291-B91A-BCBA280283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6090239"/>
            <a:ext cx="4021200" cy="25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216000" indent="0">
              <a:buNone/>
              <a:defRPr/>
            </a:lvl2pPr>
          </a:lstStyle>
          <a:p>
            <a:pPr lvl="0"/>
            <a:r>
              <a:rPr lang="da-DK" dirty="0"/>
              <a:t>Indsæt navn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757160F-1609-4C06-9280-500899BD0D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6343649"/>
            <a:ext cx="4021200" cy="25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216000" indent="0">
              <a:buNone/>
              <a:defRPr/>
            </a:lvl2pPr>
          </a:lstStyle>
          <a:p>
            <a:pPr lvl="0"/>
            <a:r>
              <a:rPr lang="da-DK" dirty="0"/>
              <a:t>Indsæt titel</a:t>
            </a:r>
          </a:p>
        </p:txBody>
      </p:sp>
      <p:sp>
        <p:nvSpPr>
          <p:cNvPr id="8" name="Text Placeholder logo">
            <a:extLst>
              <a:ext uri="{FF2B5EF4-FFF2-40B4-BE49-F238E27FC236}">
                <a16:creationId xmlns:a16="http://schemas.microsoft.com/office/drawing/2014/main" id="{6664B17C-7DE5-4D69-8DBB-1FB022E711F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1" y="336903"/>
            <a:ext cx="1800000" cy="421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a-DK"/>
              <a:t>.v</a:t>
            </a:r>
            <a:endParaRPr lang="da-DK" dirty="0"/>
          </a:p>
        </p:txBody>
      </p:sp>
      <p:sp>
        <p:nvSpPr>
          <p:cNvPr id="14" name="Text Placeholder ikon">
            <a:extLst>
              <a:ext uri="{FF2B5EF4-FFF2-40B4-BE49-F238E27FC236}">
                <a16:creationId xmlns:a16="http://schemas.microsoft.com/office/drawing/2014/main" id="{C628F5DF-BECE-4D2A-A136-B615D7C93D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2000" y="5032800"/>
            <a:ext cx="1346400" cy="3384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a-DK"/>
              <a:t>.v</a:t>
            </a:r>
            <a:endParaRPr lang="da-DK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85934967"/>
      </p:ext>
    </p:extLst>
  </p:cSld>
  <p:clrMapOvr>
    <a:masterClrMapping/>
  </p:clrMapOvr>
  <p:hf sldNum="0" hdr="0" ft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til billede - S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65C210E0-2A1B-4FEA-B1A5-112CF86685C9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0" y="-1"/>
            <a:ext cx="12189600" cy="6858000"/>
          </a:xfrm>
          <a:prstGeom prst="rect">
            <a:avLst/>
          </a:prstGeom>
          <a:solidFill>
            <a:srgbClr val="005C8D"/>
          </a:solidFill>
        </p:spPr>
        <p:txBody>
          <a:bodyPr lIns="0" tIns="72000" rIns="144000" bIns="0" anchor="t" anchorCtr="0"/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Klik her på rammen for at tilføje et billed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1122362"/>
            <a:ext cx="6940800" cy="3621600"/>
          </a:xfrm>
        </p:spPr>
        <p:txBody>
          <a:bodyPr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skrives her i flere linjer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>
          <a:xfrm>
            <a:off x="431999" y="5883332"/>
            <a:ext cx="4021200" cy="180000"/>
          </a:xfrm>
        </p:spPr>
        <p:txBody>
          <a:bodyPr/>
          <a:lstStyle>
            <a:lvl1pPr>
              <a:defRPr lang="en-GB" sz="1500" dirty="0">
                <a:solidFill>
                  <a:schemeClr val="bg1"/>
                </a:solidFill>
              </a:defRPr>
            </a:lvl1pPr>
          </a:lstStyle>
          <a:p>
            <a:fld id="{F2CF9434-4206-4AC2-A91A-1DCD05F48644}" type="datetime2">
              <a:rPr lang="da-DK" smtClean="0"/>
              <a:t>4. april 2024</a:t>
            </a:fld>
            <a:endParaRPr lang="da-DK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40752A6-1750-4291-B91A-BCBA280283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8" y="6090239"/>
            <a:ext cx="4021200" cy="25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216000" indent="0">
              <a:buNone/>
              <a:defRPr/>
            </a:lvl2pPr>
          </a:lstStyle>
          <a:p>
            <a:pPr lvl="0"/>
            <a:r>
              <a:rPr lang="da-DK" dirty="0"/>
              <a:t>Indsæt navn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757160F-1609-4C06-9280-500899BD0D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6343649"/>
            <a:ext cx="4021200" cy="25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216000" indent="0">
              <a:buNone/>
              <a:defRPr/>
            </a:lvl2pPr>
          </a:lstStyle>
          <a:p>
            <a:pPr lvl="0"/>
            <a:r>
              <a:rPr lang="da-DK" dirty="0"/>
              <a:t>Indsæt titel</a:t>
            </a:r>
          </a:p>
        </p:txBody>
      </p:sp>
      <p:sp>
        <p:nvSpPr>
          <p:cNvPr id="8" name="Text Placeholder logo">
            <a:extLst>
              <a:ext uri="{FF2B5EF4-FFF2-40B4-BE49-F238E27FC236}">
                <a16:creationId xmlns:a16="http://schemas.microsoft.com/office/drawing/2014/main" id="{6664B17C-7DE5-4D69-8DBB-1FB022E711F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001" y="336903"/>
            <a:ext cx="1800000" cy="421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a-DK"/>
              <a:t>.v</a:t>
            </a:r>
            <a:endParaRPr lang="da-DK" dirty="0"/>
          </a:p>
        </p:txBody>
      </p:sp>
      <p:sp>
        <p:nvSpPr>
          <p:cNvPr id="14" name="Text Placeholder ikon">
            <a:extLst>
              <a:ext uri="{FF2B5EF4-FFF2-40B4-BE49-F238E27FC236}">
                <a16:creationId xmlns:a16="http://schemas.microsoft.com/office/drawing/2014/main" id="{C628F5DF-BECE-4D2A-A136-B615D7C93D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2000" y="5032800"/>
            <a:ext cx="1346400" cy="3384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a-DK"/>
              <a:t>.v</a:t>
            </a:r>
            <a:endParaRPr lang="da-DK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90770437"/>
      </p:ext>
    </p:extLst>
  </p:cSld>
  <p:clrMapOvr>
    <a:masterClrMapping/>
  </p:clrMapOvr>
  <p:hf sldNum="0" hdr="0" ft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900800"/>
            <a:ext cx="8398800" cy="419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og indsæt tekst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1D3B4A91-55A6-4D67-ABB6-CF93E7608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7" name="Pladsholder til dato 6" hidden="1">
            <a:extLst>
              <a:ext uri="{FF2B5EF4-FFF2-40B4-BE49-F238E27FC236}">
                <a16:creationId xmlns:a16="http://schemas.microsoft.com/office/drawing/2014/main" id="{5A08C27B-7A27-47B8-9CF1-252CB4F481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8" name="Pladsholder til sidefod 7" hidden="1">
            <a:extLst>
              <a:ext uri="{FF2B5EF4-FFF2-40B4-BE49-F238E27FC236}">
                <a16:creationId xmlns:a16="http://schemas.microsoft.com/office/drawing/2014/main" id="{D15E0955-A169-4DAF-A047-BC190CE5F9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31978114-E33D-4532-9510-F2E19D3120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632970"/>
            <a:ext cx="8398800" cy="93489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Overskrift skrives her i en eller to linjer</a:t>
            </a:r>
          </a:p>
        </p:txBody>
      </p:sp>
    </p:spTree>
    <p:extLst>
      <p:ext uri="{BB962C8B-B14F-4D97-AF65-F5344CB8AC3E}">
        <p14:creationId xmlns:p14="http://schemas.microsoft.com/office/powerpoint/2010/main" val="11545293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28C7BC9-8511-42A0-990E-0426EF5703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708176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" name="think-cell Slide" r:id="rId27" imgW="347" imgH="348" progId="TCLayout.ActiveDocument.1">
                  <p:embed/>
                </p:oleObj>
              </mc:Choice>
              <mc:Fallback>
                <p:oleObj name="think-cell Slide" r:id="rId27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2000" y="632970"/>
            <a:ext cx="11328000" cy="9348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i master</a:t>
            </a:r>
            <a:endParaRPr lang="en-GB" dirty="0"/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CDBE11AB-1117-4DED-99AA-9A2B69C64A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900440"/>
            <a:ext cx="11329200" cy="4197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Rediger teksttypografien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2000" y="6378417"/>
            <a:ext cx="67395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Side </a:t>
            </a:r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Ikoner">
            <a:extLst>
              <a:ext uri="{FF2B5EF4-FFF2-40B4-BE49-F238E27FC236}">
                <a16:creationId xmlns:a16="http://schemas.microsoft.com/office/drawing/2014/main" id="{2E8704D0-3E44-4432-BC73-0656F00E7F0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360253" y="6433592"/>
            <a:ext cx="399747" cy="100408"/>
          </a:xfrm>
          <a:custGeom>
            <a:avLst/>
            <a:gdLst>
              <a:gd name="T0" fmla="*/ 1157 w 1157"/>
              <a:gd name="T1" fmla="*/ 144 h 288"/>
              <a:gd name="T2" fmla="*/ 1013 w 1157"/>
              <a:gd name="T3" fmla="*/ 288 h 288"/>
              <a:gd name="T4" fmla="*/ 869 w 1157"/>
              <a:gd name="T5" fmla="*/ 144 h 288"/>
              <a:gd name="T6" fmla="*/ 1013 w 1157"/>
              <a:gd name="T7" fmla="*/ 0 h 288"/>
              <a:gd name="T8" fmla="*/ 1157 w 1157"/>
              <a:gd name="T9" fmla="*/ 144 h 288"/>
              <a:gd name="T10" fmla="*/ 643 w 1157"/>
              <a:gd name="T11" fmla="*/ 5 h 288"/>
              <a:gd name="T12" fmla="*/ 569 w 1157"/>
              <a:gd name="T13" fmla="*/ 5 h 288"/>
              <a:gd name="T14" fmla="*/ 569 w 1157"/>
              <a:gd name="T15" fmla="*/ 107 h 288"/>
              <a:gd name="T16" fmla="*/ 467 w 1157"/>
              <a:gd name="T17" fmla="*/ 107 h 288"/>
              <a:gd name="T18" fmla="*/ 467 w 1157"/>
              <a:gd name="T19" fmla="*/ 181 h 288"/>
              <a:gd name="T20" fmla="*/ 569 w 1157"/>
              <a:gd name="T21" fmla="*/ 181 h 288"/>
              <a:gd name="T22" fmla="*/ 569 w 1157"/>
              <a:gd name="T23" fmla="*/ 283 h 288"/>
              <a:gd name="T24" fmla="*/ 643 w 1157"/>
              <a:gd name="T25" fmla="*/ 283 h 288"/>
              <a:gd name="T26" fmla="*/ 643 w 1157"/>
              <a:gd name="T27" fmla="*/ 181 h 288"/>
              <a:gd name="T28" fmla="*/ 745 w 1157"/>
              <a:gd name="T29" fmla="*/ 181 h 288"/>
              <a:gd name="T30" fmla="*/ 745 w 1157"/>
              <a:gd name="T31" fmla="*/ 107 h 288"/>
              <a:gd name="T32" fmla="*/ 643 w 1157"/>
              <a:gd name="T33" fmla="*/ 107 h 288"/>
              <a:gd name="T34" fmla="*/ 643 w 1157"/>
              <a:gd name="T35" fmla="*/ 5 h 288"/>
              <a:gd name="T36" fmla="*/ 255 w 1157"/>
              <a:gd name="T37" fmla="*/ 0 h 288"/>
              <a:gd name="T38" fmla="*/ 174 w 1157"/>
              <a:gd name="T39" fmla="*/ 53 h 288"/>
              <a:gd name="T40" fmla="*/ 93 w 1157"/>
              <a:gd name="T41" fmla="*/ 0 h 288"/>
              <a:gd name="T42" fmla="*/ 0 w 1157"/>
              <a:gd name="T43" fmla="*/ 91 h 288"/>
              <a:gd name="T44" fmla="*/ 174 w 1157"/>
              <a:gd name="T45" fmla="*/ 288 h 288"/>
              <a:gd name="T46" fmla="*/ 347 w 1157"/>
              <a:gd name="T47" fmla="*/ 91 h 288"/>
              <a:gd name="T48" fmla="*/ 255 w 1157"/>
              <a:gd name="T49" fmla="*/ 0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157" h="288">
                <a:moveTo>
                  <a:pt x="1157" y="144"/>
                </a:moveTo>
                <a:cubicBezTo>
                  <a:pt x="1157" y="223"/>
                  <a:pt x="1092" y="288"/>
                  <a:pt x="1013" y="288"/>
                </a:cubicBezTo>
                <a:cubicBezTo>
                  <a:pt x="933" y="288"/>
                  <a:pt x="869" y="223"/>
                  <a:pt x="869" y="144"/>
                </a:cubicBezTo>
                <a:cubicBezTo>
                  <a:pt x="869" y="65"/>
                  <a:pt x="933" y="0"/>
                  <a:pt x="1013" y="0"/>
                </a:cubicBezTo>
                <a:cubicBezTo>
                  <a:pt x="1092" y="0"/>
                  <a:pt x="1157" y="65"/>
                  <a:pt x="1157" y="144"/>
                </a:cubicBezTo>
                <a:close/>
                <a:moveTo>
                  <a:pt x="643" y="5"/>
                </a:moveTo>
                <a:cubicBezTo>
                  <a:pt x="569" y="5"/>
                  <a:pt x="569" y="5"/>
                  <a:pt x="569" y="5"/>
                </a:cubicBezTo>
                <a:cubicBezTo>
                  <a:pt x="569" y="107"/>
                  <a:pt x="569" y="107"/>
                  <a:pt x="569" y="107"/>
                </a:cubicBezTo>
                <a:cubicBezTo>
                  <a:pt x="467" y="107"/>
                  <a:pt x="467" y="107"/>
                  <a:pt x="467" y="107"/>
                </a:cubicBezTo>
                <a:cubicBezTo>
                  <a:pt x="467" y="181"/>
                  <a:pt x="467" y="181"/>
                  <a:pt x="467" y="181"/>
                </a:cubicBezTo>
                <a:cubicBezTo>
                  <a:pt x="569" y="181"/>
                  <a:pt x="569" y="181"/>
                  <a:pt x="569" y="181"/>
                </a:cubicBezTo>
                <a:cubicBezTo>
                  <a:pt x="569" y="283"/>
                  <a:pt x="569" y="283"/>
                  <a:pt x="569" y="283"/>
                </a:cubicBezTo>
                <a:cubicBezTo>
                  <a:pt x="643" y="283"/>
                  <a:pt x="643" y="283"/>
                  <a:pt x="643" y="283"/>
                </a:cubicBezTo>
                <a:cubicBezTo>
                  <a:pt x="643" y="181"/>
                  <a:pt x="643" y="181"/>
                  <a:pt x="643" y="181"/>
                </a:cubicBezTo>
                <a:cubicBezTo>
                  <a:pt x="745" y="181"/>
                  <a:pt x="745" y="181"/>
                  <a:pt x="745" y="181"/>
                </a:cubicBezTo>
                <a:cubicBezTo>
                  <a:pt x="745" y="107"/>
                  <a:pt x="745" y="107"/>
                  <a:pt x="745" y="107"/>
                </a:cubicBezTo>
                <a:cubicBezTo>
                  <a:pt x="643" y="107"/>
                  <a:pt x="643" y="107"/>
                  <a:pt x="643" y="107"/>
                </a:cubicBezTo>
                <a:lnTo>
                  <a:pt x="643" y="5"/>
                </a:lnTo>
                <a:close/>
                <a:moveTo>
                  <a:pt x="255" y="0"/>
                </a:moveTo>
                <a:cubicBezTo>
                  <a:pt x="196" y="0"/>
                  <a:pt x="174" y="53"/>
                  <a:pt x="174" y="53"/>
                </a:cubicBezTo>
                <a:cubicBezTo>
                  <a:pt x="174" y="53"/>
                  <a:pt x="151" y="0"/>
                  <a:pt x="93" y="0"/>
                </a:cubicBezTo>
                <a:cubicBezTo>
                  <a:pt x="27" y="0"/>
                  <a:pt x="0" y="57"/>
                  <a:pt x="0" y="91"/>
                </a:cubicBezTo>
                <a:cubicBezTo>
                  <a:pt x="0" y="159"/>
                  <a:pt x="80" y="244"/>
                  <a:pt x="174" y="288"/>
                </a:cubicBezTo>
                <a:cubicBezTo>
                  <a:pt x="267" y="244"/>
                  <a:pt x="347" y="159"/>
                  <a:pt x="347" y="91"/>
                </a:cubicBezTo>
                <a:cubicBezTo>
                  <a:pt x="347" y="57"/>
                  <a:pt x="320" y="0"/>
                  <a:pt x="25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4" name="Date_GeneralDate" hidden="1"/>
          <p:cNvSpPr>
            <a:spLocks noGrp="1"/>
          </p:cNvSpPr>
          <p:nvPr>
            <p:ph type="dt" sz="half" idx="2"/>
          </p:nvPr>
        </p:nvSpPr>
        <p:spPr>
          <a:xfrm>
            <a:off x="0" y="694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3"/>
          </p:nvPr>
        </p:nvSpPr>
        <p:spPr>
          <a:xfrm>
            <a:off x="0" y="694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44" r:id="rId2"/>
    <p:sldLayoutId id="2147483743" r:id="rId3"/>
    <p:sldLayoutId id="2147483746" r:id="rId4"/>
    <p:sldLayoutId id="2147483737" r:id="rId5"/>
    <p:sldLayoutId id="2147483738" r:id="rId6"/>
    <p:sldLayoutId id="2147483739" r:id="rId7"/>
    <p:sldLayoutId id="2147483740" r:id="rId8"/>
    <p:sldLayoutId id="2147483721" r:id="rId9"/>
    <p:sldLayoutId id="2147483652" r:id="rId10"/>
    <p:sldLayoutId id="2147483729" r:id="rId11"/>
    <p:sldLayoutId id="2147483728" r:id="rId12"/>
    <p:sldLayoutId id="2147483742" r:id="rId13"/>
    <p:sldLayoutId id="2147483732" r:id="rId14"/>
    <p:sldLayoutId id="2147483733" r:id="rId15"/>
    <p:sldLayoutId id="2147483736" r:id="rId16"/>
    <p:sldLayoutId id="2147483741" r:id="rId17"/>
    <p:sldLayoutId id="2147483735" r:id="rId18"/>
    <p:sldLayoutId id="2147483745" r:id="rId19"/>
    <p:sldLayoutId id="2147483722" r:id="rId20"/>
    <p:sldLayoutId id="2147483654" r:id="rId21"/>
    <p:sldLayoutId id="2147483655" r:id="rId22"/>
    <p:sldLayoutId id="2147483670" r:id="rId23"/>
  </p:sldLayoutIdLst>
  <p:hf hdr="0" ftr="0" dt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30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10000"/>
        </a:lnSpc>
        <a:spcBef>
          <a:spcPts val="0"/>
        </a:spcBef>
        <a:buFont typeface="Raleway" panose="020B0503030101060003" pitchFamily="34" charset="0"/>
        <a:buChar char="−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​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buFont typeface="Raleway" panose="020B0503030101060003" pitchFamily="34" charset="0"/>
        <a:buChar char="−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buFont typeface="Raleway" panose="020B0503030101060003" pitchFamily="34" charset="0"/>
        <a:buChar char="−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buFont typeface="Raleway" panose="020B0503030101060003" pitchFamily="34" charset="0"/>
        <a:buChar char="−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lnSpc>
          <a:spcPct val="110000"/>
        </a:lnSpc>
        <a:spcBef>
          <a:spcPts val="0"/>
        </a:spcBef>
        <a:buFont typeface="Raleway" panose="020B0503030101060003" pitchFamily="34" charset="0"/>
        <a:buChar char="−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914400" rtl="0" eaLnBrk="1" latinLnBrk="0" hangingPunct="1">
        <a:lnSpc>
          <a:spcPct val="110000"/>
        </a:lnSpc>
        <a:spcBef>
          <a:spcPts val="0"/>
        </a:spcBef>
        <a:buFont typeface="Raleway" panose="020B0503030101060003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914400" rtl="0" eaLnBrk="1" latinLnBrk="0" hangingPunct="1">
        <a:lnSpc>
          <a:spcPct val="110000"/>
        </a:lnSpc>
        <a:spcBef>
          <a:spcPts val="0"/>
        </a:spcBef>
        <a:buFont typeface="Raleway" panose="020B0503030101060003" pitchFamily="34" charset="0"/>
        <a:buChar char="−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914400" rtl="0" eaLnBrk="1" latinLnBrk="0" hangingPunct="1">
        <a:lnSpc>
          <a:spcPct val="110000"/>
        </a:lnSpc>
        <a:spcBef>
          <a:spcPts val="0"/>
        </a:spcBef>
        <a:buFont typeface="Raleway" panose="020B0503030101060003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72" userDrawn="1">
          <p15:clr>
            <a:srgbClr val="F26B43"/>
          </p15:clr>
        </p15:guide>
        <p15:guide id="3" orient="horz" pos="398" userDrawn="1">
          <p15:clr>
            <a:srgbClr val="F26B43"/>
          </p15:clr>
        </p15:guide>
        <p15:guide id="4" orient="horz" pos="987" userDrawn="1">
          <p15:clr>
            <a:srgbClr val="F26B43"/>
          </p15:clr>
        </p15:guide>
        <p15:guide id="5" pos="7408" userDrawn="1">
          <p15:clr>
            <a:srgbClr val="F26B43"/>
          </p15:clr>
        </p15:guide>
        <p15:guide id="6" orient="horz" pos="1197" userDrawn="1">
          <p15:clr>
            <a:srgbClr val="F26B43"/>
          </p15:clr>
        </p15:guide>
        <p15:guide id="7" orient="horz" pos="384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09C92A5-D415-43E0-AA6A-7DB7682072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4509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1">
            <a:extLst>
              <a:ext uri="{FF2B5EF4-FFF2-40B4-BE49-F238E27FC236}">
                <a16:creationId xmlns:a16="http://schemas.microsoft.com/office/drawing/2014/main" id="{842C6604-9F50-4310-B26C-B3509998EEC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a-DK" dirty="0"/>
              <a:t>Det Nationale Råd for Lægers Videreuddannelse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1C492CBE-A8E1-48D3-9125-DB6AA209D3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dirty="0"/>
              <a:t>6. marts 2024</a:t>
            </a:r>
          </a:p>
        </p:txBody>
      </p:sp>
      <p:sp>
        <p:nvSpPr>
          <p:cNvPr id="13" name="Pladsholder til tekst 12">
            <a:extLst>
              <a:ext uri="{FF2B5EF4-FFF2-40B4-BE49-F238E27FC236}">
                <a16:creationId xmlns:a16="http://schemas.microsoft.com/office/drawing/2014/main" id="{1D92AA61-31BC-4FC6-8A5A-B6CAAEA572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Vicedirektør, Steen Dalsgaard Jespersen</a:t>
            </a:r>
          </a:p>
        </p:txBody>
      </p:sp>
    </p:spTree>
    <p:extLst>
      <p:ext uri="{BB962C8B-B14F-4D97-AF65-F5344CB8AC3E}">
        <p14:creationId xmlns:p14="http://schemas.microsoft.com/office/powerpoint/2010/main" val="6786739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B4FDF08-B83F-4A2C-A578-74B693B5F6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5489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3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4FDF08-B83F-4A2C-A578-74B693B5F6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5F02E82-0F62-4C87-ACD8-376C7745A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632970"/>
            <a:ext cx="11219530" cy="934890"/>
          </a:xfrm>
        </p:spPr>
        <p:txBody>
          <a:bodyPr vert="horz"/>
          <a:lstStyle/>
          <a:p>
            <a:r>
              <a:rPr lang="da-DK" dirty="0"/>
              <a:t>Lovgrundlag og historik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1746FF50-49A7-4BFF-BEAF-811AFBBA98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2</a:t>
            </a:fld>
            <a:endParaRPr lang="da-DK" dirty="0"/>
          </a:p>
        </p:txBody>
      </p:sp>
      <p:grpSp>
        <p:nvGrpSpPr>
          <p:cNvPr id="6" name="Gruppe 5">
            <a:extLst>
              <a:ext uri="{FF2B5EF4-FFF2-40B4-BE49-F238E27FC236}">
                <a16:creationId xmlns:a16="http://schemas.microsoft.com/office/drawing/2014/main" id="{0297E011-FAAE-4021-8A8E-4DFA2E38936C}"/>
              </a:ext>
            </a:extLst>
          </p:cNvPr>
          <p:cNvGrpSpPr/>
          <p:nvPr/>
        </p:nvGrpSpPr>
        <p:grpSpPr>
          <a:xfrm>
            <a:off x="432000" y="1414473"/>
            <a:ext cx="2199028" cy="879611"/>
            <a:chOff x="1125" y="230570"/>
            <a:chExt cx="2199028" cy="879611"/>
          </a:xfrm>
        </p:grpSpPr>
        <p:sp>
          <p:nvSpPr>
            <p:cNvPr id="29" name="Rektangel 28">
              <a:extLst>
                <a:ext uri="{FF2B5EF4-FFF2-40B4-BE49-F238E27FC236}">
                  <a16:creationId xmlns:a16="http://schemas.microsoft.com/office/drawing/2014/main" id="{657F6D66-E369-41BB-9F76-A290FAF7091C}"/>
                </a:ext>
              </a:extLst>
            </p:cNvPr>
            <p:cNvSpPr/>
            <p:nvPr/>
          </p:nvSpPr>
          <p:spPr>
            <a:xfrm>
              <a:off x="1125" y="230570"/>
              <a:ext cx="2199028" cy="879611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0" name="Tekstfelt 29">
              <a:extLst>
                <a:ext uri="{FF2B5EF4-FFF2-40B4-BE49-F238E27FC236}">
                  <a16:creationId xmlns:a16="http://schemas.microsoft.com/office/drawing/2014/main" id="{9DEF91D4-80D9-4530-952F-FBB171C83E84}"/>
                </a:ext>
              </a:extLst>
            </p:cNvPr>
            <p:cNvSpPr txBox="1"/>
            <p:nvPr/>
          </p:nvSpPr>
          <p:spPr>
            <a:xfrm>
              <a:off x="1125" y="230570"/>
              <a:ext cx="2199028" cy="87961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3792" tIns="65024" rIns="113792" bIns="65024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600" b="1" kern="1200" dirty="0"/>
                <a:t>Sammensætning</a:t>
              </a:r>
            </a:p>
          </p:txBody>
        </p:sp>
      </p:grpSp>
      <p:grpSp>
        <p:nvGrpSpPr>
          <p:cNvPr id="8" name="Gruppe 7">
            <a:extLst>
              <a:ext uri="{FF2B5EF4-FFF2-40B4-BE49-F238E27FC236}">
                <a16:creationId xmlns:a16="http://schemas.microsoft.com/office/drawing/2014/main" id="{A9A5A4E4-8E1B-46B0-B5B1-E9577E93F3F9}"/>
              </a:ext>
            </a:extLst>
          </p:cNvPr>
          <p:cNvGrpSpPr/>
          <p:nvPr/>
        </p:nvGrpSpPr>
        <p:grpSpPr>
          <a:xfrm>
            <a:off x="2938893" y="1414473"/>
            <a:ext cx="2199028" cy="879611"/>
            <a:chOff x="2508018" y="230570"/>
            <a:chExt cx="2199028" cy="879611"/>
          </a:xfrm>
        </p:grpSpPr>
        <p:sp>
          <p:nvSpPr>
            <p:cNvPr id="25" name="Rektangel 24">
              <a:extLst>
                <a:ext uri="{FF2B5EF4-FFF2-40B4-BE49-F238E27FC236}">
                  <a16:creationId xmlns:a16="http://schemas.microsoft.com/office/drawing/2014/main" id="{E05ED1F0-1DE4-4CC7-BD9B-20129BB4C807}"/>
                </a:ext>
              </a:extLst>
            </p:cNvPr>
            <p:cNvSpPr/>
            <p:nvPr/>
          </p:nvSpPr>
          <p:spPr>
            <a:xfrm>
              <a:off x="2508018" y="230570"/>
              <a:ext cx="2199028" cy="879611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Tekstfelt 25">
              <a:extLst>
                <a:ext uri="{FF2B5EF4-FFF2-40B4-BE49-F238E27FC236}">
                  <a16:creationId xmlns:a16="http://schemas.microsoft.com/office/drawing/2014/main" id="{9FADEEBC-B329-419A-880A-7FE7031E982F}"/>
                </a:ext>
              </a:extLst>
            </p:cNvPr>
            <p:cNvSpPr txBox="1"/>
            <p:nvPr/>
          </p:nvSpPr>
          <p:spPr>
            <a:xfrm>
              <a:off x="2508018" y="230570"/>
              <a:ext cx="2199028" cy="87961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3792" tIns="65024" rIns="113792" bIns="65024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600" b="1" kern="1200" dirty="0"/>
                <a:t>Opgaver</a:t>
              </a:r>
            </a:p>
          </p:txBody>
        </p:sp>
      </p:grpSp>
      <p:grpSp>
        <p:nvGrpSpPr>
          <p:cNvPr id="11" name="Gruppe 10">
            <a:extLst>
              <a:ext uri="{FF2B5EF4-FFF2-40B4-BE49-F238E27FC236}">
                <a16:creationId xmlns:a16="http://schemas.microsoft.com/office/drawing/2014/main" id="{B61A0558-6E38-4CA9-AF65-6BCE899194A7}"/>
              </a:ext>
            </a:extLst>
          </p:cNvPr>
          <p:cNvGrpSpPr/>
          <p:nvPr/>
        </p:nvGrpSpPr>
        <p:grpSpPr>
          <a:xfrm>
            <a:off x="5445786" y="1414473"/>
            <a:ext cx="2199028" cy="879611"/>
            <a:chOff x="5014911" y="230570"/>
            <a:chExt cx="2199028" cy="879611"/>
          </a:xfrm>
        </p:grpSpPr>
        <p:sp>
          <p:nvSpPr>
            <p:cNvPr id="21" name="Rektangel 20">
              <a:extLst>
                <a:ext uri="{FF2B5EF4-FFF2-40B4-BE49-F238E27FC236}">
                  <a16:creationId xmlns:a16="http://schemas.microsoft.com/office/drawing/2014/main" id="{CF2E3C0F-1004-442C-92FD-041179480935}"/>
                </a:ext>
              </a:extLst>
            </p:cNvPr>
            <p:cNvSpPr/>
            <p:nvPr/>
          </p:nvSpPr>
          <p:spPr>
            <a:xfrm>
              <a:off x="5014911" y="230570"/>
              <a:ext cx="2199028" cy="879611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Tekstfelt 21">
              <a:extLst>
                <a:ext uri="{FF2B5EF4-FFF2-40B4-BE49-F238E27FC236}">
                  <a16:creationId xmlns:a16="http://schemas.microsoft.com/office/drawing/2014/main" id="{8497A8D7-9065-4599-8C30-00BB8CA6BAE1}"/>
                </a:ext>
              </a:extLst>
            </p:cNvPr>
            <p:cNvSpPr txBox="1"/>
            <p:nvPr/>
          </p:nvSpPr>
          <p:spPr>
            <a:xfrm>
              <a:off x="5014911" y="230570"/>
              <a:ext cx="2199028" cy="87961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3792" tIns="65024" rIns="113792" bIns="65024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600" b="1" kern="1200" dirty="0"/>
                <a:t>Møder</a:t>
              </a:r>
            </a:p>
          </p:txBody>
        </p:sp>
      </p:grpSp>
      <p:grpSp>
        <p:nvGrpSpPr>
          <p:cNvPr id="13" name="Gruppe 12">
            <a:extLst>
              <a:ext uri="{FF2B5EF4-FFF2-40B4-BE49-F238E27FC236}">
                <a16:creationId xmlns:a16="http://schemas.microsoft.com/office/drawing/2014/main" id="{4CF872C2-F681-44D5-B517-4E5C8AD58CFE}"/>
              </a:ext>
            </a:extLst>
          </p:cNvPr>
          <p:cNvGrpSpPr/>
          <p:nvPr/>
        </p:nvGrpSpPr>
        <p:grpSpPr>
          <a:xfrm>
            <a:off x="7964532" y="1414473"/>
            <a:ext cx="2890469" cy="879611"/>
            <a:chOff x="7533657" y="230570"/>
            <a:chExt cx="2890469" cy="879611"/>
          </a:xfrm>
        </p:grpSpPr>
        <p:sp>
          <p:nvSpPr>
            <p:cNvPr id="17" name="Rektangel 16">
              <a:extLst>
                <a:ext uri="{FF2B5EF4-FFF2-40B4-BE49-F238E27FC236}">
                  <a16:creationId xmlns:a16="http://schemas.microsoft.com/office/drawing/2014/main" id="{059752F2-AAC1-43C7-983F-E9CC96CBC374}"/>
                </a:ext>
              </a:extLst>
            </p:cNvPr>
            <p:cNvSpPr/>
            <p:nvPr/>
          </p:nvSpPr>
          <p:spPr>
            <a:xfrm>
              <a:off x="7533657" y="230570"/>
              <a:ext cx="2890469" cy="879611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Tekstfelt 17">
              <a:extLst>
                <a:ext uri="{FF2B5EF4-FFF2-40B4-BE49-F238E27FC236}">
                  <a16:creationId xmlns:a16="http://schemas.microsoft.com/office/drawing/2014/main" id="{F5F0511C-0BC9-495D-A3CB-0433D1E9619F}"/>
                </a:ext>
              </a:extLst>
            </p:cNvPr>
            <p:cNvSpPr txBox="1"/>
            <p:nvPr/>
          </p:nvSpPr>
          <p:spPr>
            <a:xfrm>
              <a:off x="7533657" y="230570"/>
              <a:ext cx="2890469" cy="87961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3792" tIns="65024" rIns="113792" bIns="65024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a-DK" sz="1600" b="1" kern="1200" dirty="0"/>
                <a:t>Underudvalg</a:t>
              </a:r>
            </a:p>
          </p:txBody>
        </p:sp>
      </p:grpSp>
      <p:sp>
        <p:nvSpPr>
          <p:cNvPr id="31" name="Rektangel 30">
            <a:extLst>
              <a:ext uri="{FF2B5EF4-FFF2-40B4-BE49-F238E27FC236}">
                <a16:creationId xmlns:a16="http://schemas.microsoft.com/office/drawing/2014/main" id="{C3E11C48-1827-4E35-9251-0D81A25EA6D7}"/>
              </a:ext>
            </a:extLst>
          </p:cNvPr>
          <p:cNvSpPr/>
          <p:nvPr/>
        </p:nvSpPr>
        <p:spPr>
          <a:xfrm>
            <a:off x="432000" y="2294084"/>
            <a:ext cx="2199028" cy="39309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da-DK" sz="1600" dirty="0">
                <a:solidFill>
                  <a:schemeClr val="tx1"/>
                </a:solidFill>
              </a:rPr>
              <a:t>Fastsat i ministeriets BEK</a:t>
            </a:r>
          </a:p>
          <a:p>
            <a:pPr marL="0" lvl="1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da-DK" sz="1600" dirty="0">
              <a:solidFill>
                <a:schemeClr val="tx1"/>
              </a:solidFill>
            </a:endParaRPr>
          </a:p>
          <a:p>
            <a:pPr marL="285750" lvl="1" indent="-2857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da-DK" sz="1600" dirty="0">
                <a:solidFill>
                  <a:schemeClr val="tx1"/>
                </a:solidFill>
              </a:rPr>
              <a:t>Overordnet ens sammensætning siden 2000</a:t>
            </a:r>
          </a:p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endParaRPr lang="da-DK" sz="1600" dirty="0">
              <a:solidFill>
                <a:schemeClr val="tx1"/>
              </a:solidFill>
            </a:endParaRPr>
          </a:p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da-DK" sz="1600" dirty="0">
                <a:solidFill>
                  <a:schemeClr val="tx1"/>
                </a:solidFill>
              </a:rPr>
              <a:t>Før 2018: Formand var ekstern (udpeget af ministeren, ligesom i dag)</a:t>
            </a:r>
          </a:p>
        </p:txBody>
      </p:sp>
      <p:sp>
        <p:nvSpPr>
          <p:cNvPr id="32" name="Rektangel 31">
            <a:extLst>
              <a:ext uri="{FF2B5EF4-FFF2-40B4-BE49-F238E27FC236}">
                <a16:creationId xmlns:a16="http://schemas.microsoft.com/office/drawing/2014/main" id="{104CA58D-E72C-4F4A-8F64-D5F9B31BD8FF}"/>
              </a:ext>
            </a:extLst>
          </p:cNvPr>
          <p:cNvSpPr/>
          <p:nvPr/>
        </p:nvSpPr>
        <p:spPr>
          <a:xfrm>
            <a:off x="2938893" y="2294084"/>
            <a:ext cx="2199028" cy="39309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da-DK" sz="1600" dirty="0">
                <a:solidFill>
                  <a:schemeClr val="tx1"/>
                </a:solidFill>
              </a:rPr>
              <a:t>Rådgivning om forskellige aspekter af LVU jf. § 1-8 i BEK om forretningsorden og opgaver     (Bilag 1)</a:t>
            </a:r>
          </a:p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endParaRPr lang="da-DK" sz="1600" dirty="0">
              <a:solidFill>
                <a:schemeClr val="tx1"/>
              </a:solidFill>
            </a:endParaRPr>
          </a:p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da-DK" sz="1600" dirty="0">
                <a:solidFill>
                  <a:schemeClr val="tx1"/>
                </a:solidFill>
              </a:rPr>
              <a:t>Rådets opgaver er i det store hele ikke ændret over tid men med varierende vægtning</a:t>
            </a:r>
          </a:p>
        </p:txBody>
      </p:sp>
      <p:sp>
        <p:nvSpPr>
          <p:cNvPr id="33" name="Rektangel 32">
            <a:extLst>
              <a:ext uri="{FF2B5EF4-FFF2-40B4-BE49-F238E27FC236}">
                <a16:creationId xmlns:a16="http://schemas.microsoft.com/office/drawing/2014/main" id="{7282E036-AA3D-4DA8-BA04-CA023DF4124B}"/>
              </a:ext>
            </a:extLst>
          </p:cNvPr>
          <p:cNvSpPr/>
          <p:nvPr/>
        </p:nvSpPr>
        <p:spPr>
          <a:xfrm>
            <a:off x="5445786" y="2294084"/>
            <a:ext cx="2199028" cy="39309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da-DK" sz="1600" dirty="0">
                <a:solidFill>
                  <a:schemeClr val="tx1"/>
                </a:solidFill>
              </a:rPr>
              <a:t>Mindst 4 møder årligt jf. § 15 i </a:t>
            </a:r>
            <a:r>
              <a:rPr lang="da-DK" sz="1600" dirty="0" err="1">
                <a:solidFill>
                  <a:schemeClr val="tx1"/>
                </a:solidFill>
              </a:rPr>
              <a:t>NRLV’s</a:t>
            </a:r>
            <a:r>
              <a:rPr lang="da-DK" sz="1600" dirty="0">
                <a:solidFill>
                  <a:schemeClr val="tx1"/>
                </a:solidFill>
              </a:rPr>
              <a:t> forretningsorden</a:t>
            </a:r>
          </a:p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endParaRPr lang="da-DK" sz="1600" dirty="0">
              <a:solidFill>
                <a:schemeClr val="tx1"/>
              </a:solidFill>
            </a:endParaRPr>
          </a:p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da-DK" sz="1600" dirty="0">
                <a:solidFill>
                  <a:schemeClr val="tx1"/>
                </a:solidFill>
              </a:rPr>
              <a:t>Praksis: 3 timer inklusiv temadrøftelse; fysisk fremmøde som udgangspunkt</a:t>
            </a:r>
          </a:p>
        </p:txBody>
      </p:sp>
      <p:sp>
        <p:nvSpPr>
          <p:cNvPr id="34" name="Rektangel 33">
            <a:extLst>
              <a:ext uri="{FF2B5EF4-FFF2-40B4-BE49-F238E27FC236}">
                <a16:creationId xmlns:a16="http://schemas.microsoft.com/office/drawing/2014/main" id="{1ACB4C84-B559-4F3B-95C6-EAF6F010C097}"/>
              </a:ext>
            </a:extLst>
          </p:cNvPr>
          <p:cNvSpPr/>
          <p:nvPr/>
        </p:nvSpPr>
        <p:spPr>
          <a:xfrm>
            <a:off x="7964531" y="2294083"/>
            <a:ext cx="2890469" cy="39309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da-DK" sz="1600" i="1" dirty="0">
                <a:solidFill>
                  <a:schemeClr val="tx1"/>
                </a:solidFill>
              </a:rPr>
              <a:t>Forretningsudvalg:</a:t>
            </a:r>
          </a:p>
          <a:p>
            <a:pPr marL="360363" lvl="2" indent="-1841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da-DK" sz="1600" dirty="0">
                <a:solidFill>
                  <a:schemeClr val="tx1"/>
                </a:solidFill>
              </a:rPr>
              <a:t>Samme </a:t>
            </a:r>
            <a:r>
              <a:rPr lang="da-DK" sz="1600" dirty="0" err="1">
                <a:solidFill>
                  <a:schemeClr val="tx1"/>
                </a:solidFill>
              </a:rPr>
              <a:t>forperson</a:t>
            </a:r>
            <a:r>
              <a:rPr lang="da-DK" sz="1600" dirty="0">
                <a:solidFill>
                  <a:schemeClr val="tx1"/>
                </a:solidFill>
              </a:rPr>
              <a:t> som NRLV</a:t>
            </a:r>
          </a:p>
          <a:p>
            <a:pPr marL="360363" lvl="2" indent="-1841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da-DK" sz="1600" dirty="0">
                <a:solidFill>
                  <a:schemeClr val="tx1"/>
                </a:solidFill>
              </a:rPr>
              <a:t>Sammensat af formændene for VUR</a:t>
            </a:r>
          </a:p>
          <a:p>
            <a:pPr marL="360363" lvl="2" indent="-1841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da-DK" sz="1600" dirty="0">
                <a:solidFill>
                  <a:schemeClr val="tx1"/>
                </a:solidFill>
              </a:rPr>
              <a:t>Forbereder og følger op på møder i NRLV</a:t>
            </a:r>
          </a:p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da-DK" sz="1600" i="1" dirty="0">
                <a:solidFill>
                  <a:schemeClr val="tx1"/>
                </a:solidFill>
              </a:rPr>
              <a:t>Prognose- og Dimensioneringsudvalg:</a:t>
            </a:r>
          </a:p>
          <a:p>
            <a:pPr marL="360363" lvl="2" indent="-1841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da-DK" sz="1600" dirty="0" err="1">
                <a:solidFill>
                  <a:schemeClr val="tx1"/>
                </a:solidFill>
              </a:rPr>
              <a:t>Forperson</a:t>
            </a:r>
            <a:r>
              <a:rPr lang="da-DK" sz="1600" dirty="0">
                <a:solidFill>
                  <a:schemeClr val="tx1"/>
                </a:solidFill>
              </a:rPr>
              <a:t> fra SST</a:t>
            </a:r>
          </a:p>
          <a:p>
            <a:pPr marL="360363" lvl="2" indent="-1841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da-DK" sz="1600" dirty="0">
                <a:solidFill>
                  <a:schemeClr val="tx1"/>
                </a:solidFill>
              </a:rPr>
              <a:t>Udarbejder prognoser, dimensioneringsplaner og anbefalinger til kandidatproduktion</a:t>
            </a:r>
          </a:p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da-DK" sz="1600" i="1" dirty="0">
                <a:solidFill>
                  <a:schemeClr val="tx1"/>
                </a:solidFill>
              </a:rPr>
              <a:t>Før 2006: </a:t>
            </a:r>
            <a:r>
              <a:rPr lang="da-DK" sz="1600" dirty="0">
                <a:solidFill>
                  <a:schemeClr val="tx1"/>
                </a:solidFill>
              </a:rPr>
              <a:t>Udvalg for uddannelsesbedømmelse</a:t>
            </a:r>
          </a:p>
        </p:txBody>
      </p:sp>
    </p:spTree>
    <p:extLst>
      <p:ext uri="{BB962C8B-B14F-4D97-AF65-F5344CB8AC3E}">
        <p14:creationId xmlns:p14="http://schemas.microsoft.com/office/powerpoint/2010/main" val="2008103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A520E1-7AEB-488A-AF9A-688EA3BCDB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ådets fremtidige virke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A3414FC7-3D35-490A-B17A-4EC9369D83BC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u="sng" dirty="0"/>
              <a:t>Foreslår til justeringer for at tilgodese:</a:t>
            </a:r>
          </a:p>
          <a:p>
            <a:r>
              <a:rPr lang="da-DK" dirty="0"/>
              <a:t>Tyngde i møderne og rådgivningen om principielle forhold af strategisk, principiel karakter, der har national/landsdækkende betydning</a:t>
            </a:r>
          </a:p>
          <a:p>
            <a:r>
              <a:rPr lang="da-DK" dirty="0"/>
              <a:t>Tættere kobling til de regionale råd/lokale principielle forhold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D61769DD-2FB6-4D1A-9E65-7920C499C4DA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u="sng" dirty="0"/>
              <a:t>Konkret:</a:t>
            </a:r>
          </a:p>
          <a:p>
            <a:r>
              <a:rPr lang="da-DK" i="1" dirty="0"/>
              <a:t>Mødehyppighed </a:t>
            </a:r>
            <a:r>
              <a:rPr lang="da-DK" dirty="0"/>
              <a:t>skal matche indhold i dagsordener (hellere færre møder men med tungere indhold)</a:t>
            </a:r>
          </a:p>
          <a:p>
            <a:r>
              <a:rPr lang="da-DK" i="1" dirty="0"/>
              <a:t>Mødelængde </a:t>
            </a:r>
            <a:r>
              <a:rPr lang="da-DK" dirty="0"/>
              <a:t>skal muliggøre kvalificerede oplæg og drøftelser og samtidig transporttid (som udgangspunkt 3 timer)</a:t>
            </a:r>
          </a:p>
          <a:p>
            <a:r>
              <a:rPr lang="da-DK" i="1" dirty="0"/>
              <a:t>Mødeformat </a:t>
            </a:r>
            <a:r>
              <a:rPr lang="da-DK" dirty="0"/>
              <a:t>skal matche mødelængde og dagsordeners indhold (som udgangspunkt fysisk fremmøde)</a:t>
            </a:r>
          </a:p>
          <a:p>
            <a:r>
              <a:rPr lang="da-DK" i="1" dirty="0"/>
              <a:t>Forberedelse </a:t>
            </a:r>
            <a:r>
              <a:rPr lang="da-DK" dirty="0"/>
              <a:t>i tæt samarbejde med </a:t>
            </a:r>
            <a:r>
              <a:rPr lang="da-DK" dirty="0" err="1"/>
              <a:t>VUR’er</a:t>
            </a:r>
            <a:endParaRPr lang="da-DK" dirty="0"/>
          </a:p>
          <a:p>
            <a:endParaRPr lang="da-DK" dirty="0"/>
          </a:p>
          <a:p>
            <a:pPr marL="0" indent="0">
              <a:buNone/>
            </a:pPr>
            <a:r>
              <a:rPr lang="da-DK" u="sng" dirty="0"/>
              <a:t>Ændringer i rammer:</a:t>
            </a:r>
          </a:p>
          <a:p>
            <a:r>
              <a:rPr lang="da-DK" dirty="0"/>
              <a:t>Mødehyppighed (mere fleksibilitet)</a:t>
            </a:r>
          </a:p>
          <a:p>
            <a:r>
              <a:rPr lang="da-DK" dirty="0"/>
              <a:t>Stående udvalg (P&amp;D-udvalg nedlægges, involverende proces bevares)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D2F89EC4-6621-454D-B9B3-9CA2F4E074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a-DK"/>
              <a:t>Side </a:t>
            </a:r>
            <a:fld id="{24C8C45C-947F-4981-8B3F-4F32E973C901}" type="slidenum">
              <a:rPr lang="da-DK" smtClean="0"/>
              <a:pPr/>
              <a:t>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160949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undhedsstyrelsen PowerPoint skabelon">
  <a:themeElements>
    <a:clrScheme name="Sundhedsstyrelsen - Mørk grøn">
      <a:dk1>
        <a:sysClr val="windowText" lastClr="000000"/>
      </a:dk1>
      <a:lt1>
        <a:sysClr val="window" lastClr="FFFFFF"/>
      </a:lt1>
      <a:dk2>
        <a:srgbClr val="99EFD7"/>
      </a:dk2>
      <a:lt2>
        <a:srgbClr val="005045"/>
      </a:lt2>
      <a:accent1>
        <a:srgbClr val="003F36"/>
      </a:accent1>
      <a:accent2>
        <a:srgbClr val="00D79B"/>
      </a:accent2>
      <a:accent3>
        <a:srgbClr val="005C8D"/>
      </a:accent3>
      <a:accent4>
        <a:srgbClr val="BEE3FF"/>
      </a:accent4>
      <a:accent5>
        <a:srgbClr val="441B3C"/>
      </a:accent5>
      <a:accent6>
        <a:srgbClr val="FF7896"/>
      </a:accent6>
      <a:hlink>
        <a:srgbClr val="00D79B"/>
      </a:hlink>
      <a:folHlink>
        <a:srgbClr val="005045"/>
      </a:folHlink>
    </a:clrScheme>
    <a:fontScheme name="Sundhedsstyrelsen">
      <a:majorFont>
        <a:latin typeface="Raleway ExtraBold"/>
        <a:ea typeface=""/>
        <a:cs typeface=""/>
      </a:majorFont>
      <a:minorFont>
        <a:latin typeface="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 sz="20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7A16F1A4-D7A2-47AD-8CC5-09B4829257D8}" vid="{BE58C47F-DC93-4865-BED4-2B512DFCA1BB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60</Words>
  <Application>Microsoft Office PowerPoint</Application>
  <PresentationFormat>Widescreen</PresentationFormat>
  <Paragraphs>42</Paragraphs>
  <Slides>3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3</vt:i4>
      </vt:variant>
    </vt:vector>
  </HeadingPairs>
  <TitlesOfParts>
    <vt:vector size="8" baseType="lpstr">
      <vt:lpstr>Raleway ExtraBold</vt:lpstr>
      <vt:lpstr>Raleway</vt:lpstr>
      <vt:lpstr>Arial</vt:lpstr>
      <vt:lpstr>Sundhedsstyrelsen PowerPoint skabelon</vt:lpstr>
      <vt:lpstr>think-cell Slide</vt:lpstr>
      <vt:lpstr>Det Nationale Råd for Lægers Videreuddannelse</vt:lpstr>
      <vt:lpstr>Lovgrundlag og historik</vt:lpstr>
      <vt:lpstr>Rådets fremtidige virk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4-01-23T09:55:11Z</dcterms:created>
  <dcterms:modified xsi:type="dcterms:W3CDTF">2024-04-04T09:39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</Properties>
</file>